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10">
  <p:sldMasterIdLst>
    <p:sldMasterId id="2147483648" r:id="rId1"/>
    <p:sldMasterId id="2147483660" r:id="rId2"/>
  </p:sldMasterIdLst>
  <p:notesMasterIdLst>
    <p:notesMasterId r:id="rId49"/>
  </p:notesMasterIdLst>
  <p:sldIdLst>
    <p:sldId id="567" r:id="rId3"/>
    <p:sldId id="565" r:id="rId4"/>
    <p:sldId id="258" r:id="rId5"/>
    <p:sldId id="315" r:id="rId6"/>
    <p:sldId id="316" r:id="rId7"/>
    <p:sldId id="317" r:id="rId8"/>
    <p:sldId id="321" r:id="rId9"/>
    <p:sldId id="319" r:id="rId10"/>
    <p:sldId id="320" r:id="rId11"/>
    <p:sldId id="323" r:id="rId12"/>
    <p:sldId id="318" r:id="rId13"/>
    <p:sldId id="322" r:id="rId14"/>
    <p:sldId id="325" r:id="rId15"/>
    <p:sldId id="324" r:id="rId16"/>
    <p:sldId id="331" r:id="rId17"/>
    <p:sldId id="326" r:id="rId18"/>
    <p:sldId id="330" r:id="rId19"/>
    <p:sldId id="314" r:id="rId20"/>
    <p:sldId id="336" r:id="rId21"/>
    <p:sldId id="530" r:id="rId22"/>
    <p:sldId id="531" r:id="rId23"/>
    <p:sldId id="364" r:id="rId24"/>
    <p:sldId id="540" r:id="rId25"/>
    <p:sldId id="552" r:id="rId26"/>
    <p:sldId id="542" r:id="rId27"/>
    <p:sldId id="553" r:id="rId28"/>
    <p:sldId id="544" r:id="rId29"/>
    <p:sldId id="543" r:id="rId30"/>
    <p:sldId id="351" r:id="rId31"/>
    <p:sldId id="554" r:id="rId32"/>
    <p:sldId id="345" r:id="rId33"/>
    <p:sldId id="358" r:id="rId34"/>
    <p:sldId id="359" r:id="rId35"/>
    <p:sldId id="367" r:id="rId36"/>
    <p:sldId id="340" r:id="rId37"/>
    <p:sldId id="560" r:id="rId38"/>
    <p:sldId id="561" r:id="rId39"/>
    <p:sldId id="347" r:id="rId40"/>
    <p:sldId id="562" r:id="rId41"/>
    <p:sldId id="356" r:id="rId42"/>
    <p:sldId id="360" r:id="rId43"/>
    <p:sldId id="563" r:id="rId44"/>
    <p:sldId id="376" r:id="rId45"/>
    <p:sldId id="377" r:id="rId46"/>
    <p:sldId id="374" r:id="rId47"/>
    <p:sldId id="455" r:id="rId48"/>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Gatford"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94FFBC-EF08-4240-9B95-8F2AF5F56F59}" v="18" dt="2024-07-24T01:35:09.109"/>
    <p1510:client id="{9B33D4F0-7F50-4CBC-9D7F-56BECBFD894D}" v="102" dt="2024-07-23T06:02:24.0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5" autoAdjust="0"/>
    <p:restoredTop sz="94782" autoAdjust="0"/>
  </p:normalViewPr>
  <p:slideViewPr>
    <p:cSldViewPr snapToGrid="0">
      <p:cViewPr varScale="1">
        <p:scale>
          <a:sx n="105" d="100"/>
          <a:sy n="105" d="100"/>
        </p:scale>
        <p:origin x="546"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90" d="100"/>
        <a:sy n="90" d="100"/>
      </p:scale>
      <p:origin x="0" y="-90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microsoft.com/office/2016/11/relationships/changesInfo" Target="changesInfos/changesInfo1.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ence White" userId="e5cf4429-16c7-4e12-a8fb-8b5fdd196d6f" providerId="ADAL" clId="{9B33D4F0-7F50-4CBC-9D7F-56BECBFD894D}"/>
    <pc:docChg chg="custSel addSld delSld modSld sldOrd modMainMaster replTag">
      <pc:chgData name="Laurence White" userId="e5cf4429-16c7-4e12-a8fb-8b5fdd196d6f" providerId="ADAL" clId="{9B33D4F0-7F50-4CBC-9D7F-56BECBFD894D}" dt="2024-07-23T06:02:24.098" v="2846"/>
      <pc:docMkLst>
        <pc:docMk/>
      </pc:docMkLst>
      <pc:sldChg chg="delSp modSp mod ord">
        <pc:chgData name="Laurence White" userId="e5cf4429-16c7-4e12-a8fb-8b5fdd196d6f" providerId="ADAL" clId="{9B33D4F0-7F50-4CBC-9D7F-56BECBFD894D}" dt="2024-07-23T06:00:17.513" v="2726"/>
        <pc:sldMkLst>
          <pc:docMk/>
          <pc:sldMk cId="2942979920" sldId="314"/>
        </pc:sldMkLst>
        <pc:spChg chg="mod">
          <ac:chgData name="Laurence White" userId="e5cf4429-16c7-4e12-a8fb-8b5fdd196d6f" providerId="ADAL" clId="{9B33D4F0-7F50-4CBC-9D7F-56BECBFD894D}" dt="2024-07-23T06:00:04.545" v="2722" actId="1076"/>
          <ac:spMkLst>
            <pc:docMk/>
            <pc:sldMk cId="2942979920" sldId="314"/>
            <ac:spMk id="7" creationId="{2561F4B7-C28A-4585-B4D1-159F7916B147}"/>
          </ac:spMkLst>
        </pc:spChg>
        <pc:picChg chg="del">
          <ac:chgData name="Laurence White" userId="e5cf4429-16c7-4e12-a8fb-8b5fdd196d6f" providerId="ADAL" clId="{9B33D4F0-7F50-4CBC-9D7F-56BECBFD894D}" dt="2024-07-23T06:00:01.079" v="2721" actId="478"/>
          <ac:picMkLst>
            <pc:docMk/>
            <pc:sldMk cId="2942979920" sldId="314"/>
            <ac:picMk id="8" creationId="{8D9992DB-6700-4B22-9505-1AE076A1677D}"/>
          </ac:picMkLst>
        </pc:picChg>
      </pc:sldChg>
      <pc:sldChg chg="modSp mod">
        <pc:chgData name="Laurence White" userId="e5cf4429-16c7-4e12-a8fb-8b5fdd196d6f" providerId="ADAL" clId="{9B33D4F0-7F50-4CBC-9D7F-56BECBFD894D}" dt="2024-07-23T05:45:24.832" v="284" actId="1076"/>
        <pc:sldMkLst>
          <pc:docMk/>
          <pc:sldMk cId="1014599978" sldId="315"/>
        </pc:sldMkLst>
        <pc:grpChg chg="mod">
          <ac:chgData name="Laurence White" userId="e5cf4429-16c7-4e12-a8fb-8b5fdd196d6f" providerId="ADAL" clId="{9B33D4F0-7F50-4CBC-9D7F-56BECBFD894D}" dt="2024-07-23T05:45:00.556" v="279" actId="1076"/>
          <ac:grpSpMkLst>
            <pc:docMk/>
            <pc:sldMk cId="1014599978" sldId="315"/>
            <ac:grpSpMk id="23" creationId="{3E33E380-E192-DAC3-E47E-63669F7AA0A3}"/>
          </ac:grpSpMkLst>
        </pc:grpChg>
        <pc:grpChg chg="mod">
          <ac:chgData name="Laurence White" userId="e5cf4429-16c7-4e12-a8fb-8b5fdd196d6f" providerId="ADAL" clId="{9B33D4F0-7F50-4CBC-9D7F-56BECBFD894D}" dt="2024-07-23T05:45:15.106" v="282" actId="1076"/>
          <ac:grpSpMkLst>
            <pc:docMk/>
            <pc:sldMk cId="1014599978" sldId="315"/>
            <ac:grpSpMk id="26" creationId="{ACB4D5BF-D28C-7F6C-E06C-3B928BE4FE46}"/>
          </ac:grpSpMkLst>
        </pc:grpChg>
        <pc:picChg chg="mod">
          <ac:chgData name="Laurence White" userId="e5cf4429-16c7-4e12-a8fb-8b5fdd196d6f" providerId="ADAL" clId="{9B33D4F0-7F50-4CBC-9D7F-56BECBFD894D}" dt="2024-07-23T05:45:21.576" v="283" actId="1076"/>
          <ac:picMkLst>
            <pc:docMk/>
            <pc:sldMk cId="1014599978" sldId="315"/>
            <ac:picMk id="6" creationId="{12E486EC-2535-8237-F34A-2E22DCCE402A}"/>
          </ac:picMkLst>
        </pc:picChg>
        <pc:picChg chg="mod">
          <ac:chgData name="Laurence White" userId="e5cf4429-16c7-4e12-a8fb-8b5fdd196d6f" providerId="ADAL" clId="{9B33D4F0-7F50-4CBC-9D7F-56BECBFD894D}" dt="2024-07-23T05:45:02.176" v="280" actId="1076"/>
          <ac:picMkLst>
            <pc:docMk/>
            <pc:sldMk cId="1014599978" sldId="315"/>
            <ac:picMk id="10" creationId="{FB4FEA78-B1CE-F96F-195A-9943E37BB3A1}"/>
          </ac:picMkLst>
        </pc:picChg>
        <pc:picChg chg="mod">
          <ac:chgData name="Laurence White" userId="e5cf4429-16c7-4e12-a8fb-8b5fdd196d6f" providerId="ADAL" clId="{9B33D4F0-7F50-4CBC-9D7F-56BECBFD894D}" dt="2024-07-23T05:45:06.923" v="281" actId="1076"/>
          <ac:picMkLst>
            <pc:docMk/>
            <pc:sldMk cId="1014599978" sldId="315"/>
            <ac:picMk id="12" creationId="{9391E01D-1B0D-E9AF-FB9D-70695E70D05B}"/>
          </ac:picMkLst>
        </pc:picChg>
        <pc:picChg chg="mod">
          <ac:chgData name="Laurence White" userId="e5cf4429-16c7-4e12-a8fb-8b5fdd196d6f" providerId="ADAL" clId="{9B33D4F0-7F50-4CBC-9D7F-56BECBFD894D}" dt="2024-07-23T05:45:06.923" v="281" actId="1076"/>
          <ac:picMkLst>
            <pc:docMk/>
            <pc:sldMk cId="1014599978" sldId="315"/>
            <ac:picMk id="14" creationId="{C826F6F3-9A8A-D11F-004D-4893325F76D0}"/>
          </ac:picMkLst>
        </pc:picChg>
        <pc:picChg chg="mod">
          <ac:chgData name="Laurence White" userId="e5cf4429-16c7-4e12-a8fb-8b5fdd196d6f" providerId="ADAL" clId="{9B33D4F0-7F50-4CBC-9D7F-56BECBFD894D}" dt="2024-07-23T05:45:24.832" v="284" actId="1076"/>
          <ac:picMkLst>
            <pc:docMk/>
            <pc:sldMk cId="1014599978" sldId="315"/>
            <ac:picMk id="32" creationId="{EAAFF298-38E1-FAD4-4367-8E01FCB72E38}"/>
          </ac:picMkLst>
        </pc:picChg>
      </pc:sldChg>
      <pc:sldChg chg="addSp delSp modSp mod">
        <pc:chgData name="Laurence White" userId="e5cf4429-16c7-4e12-a8fb-8b5fdd196d6f" providerId="ADAL" clId="{9B33D4F0-7F50-4CBC-9D7F-56BECBFD894D}" dt="2024-07-23T05:45:39.215" v="371"/>
        <pc:sldMkLst>
          <pc:docMk/>
          <pc:sldMk cId="172092020" sldId="316"/>
        </pc:sldMkLst>
        <pc:spChg chg="mod">
          <ac:chgData name="Laurence White" userId="e5cf4429-16c7-4e12-a8fb-8b5fdd196d6f" providerId="ADAL" clId="{9B33D4F0-7F50-4CBC-9D7F-56BECBFD894D}" dt="2024-07-23T05:45:39.198" v="346" actId="948"/>
          <ac:spMkLst>
            <pc:docMk/>
            <pc:sldMk cId="172092020" sldId="316"/>
            <ac:spMk id="2" creationId="{89332423-C045-25B5-EA13-DE53DCF91939}"/>
          </ac:spMkLst>
        </pc:spChg>
        <pc:spChg chg="mod">
          <ac:chgData name="Laurence White" userId="e5cf4429-16c7-4e12-a8fb-8b5fdd196d6f" providerId="ADAL" clId="{9B33D4F0-7F50-4CBC-9D7F-56BECBFD894D}" dt="2024-07-23T05:41:33.440" v="62"/>
          <ac:spMkLst>
            <pc:docMk/>
            <pc:sldMk cId="172092020" sldId="316"/>
            <ac:spMk id="3" creationId="{DE243467-5AD0-0F7D-A2B9-B78B18CD8563}"/>
          </ac:spMkLst>
        </pc:spChg>
        <pc:spChg chg="add del mod modVis">
          <ac:chgData name="Laurence White" userId="e5cf4429-16c7-4e12-a8fb-8b5fdd196d6f" providerId="ADAL" clId="{9B33D4F0-7F50-4CBC-9D7F-56BECBFD894D}" dt="2024-07-23T05:45:38.024" v="325"/>
          <ac:spMkLst>
            <pc:docMk/>
            <pc:sldMk cId="172092020" sldId="316"/>
            <ac:spMk id="5" creationId="{9F48241B-63E7-FA6A-F049-A5BE072F0D18}"/>
          </ac:spMkLst>
        </pc:spChg>
        <pc:spChg chg="add del mod modVis">
          <ac:chgData name="Laurence White" userId="e5cf4429-16c7-4e12-a8fb-8b5fdd196d6f" providerId="ADAL" clId="{9B33D4F0-7F50-4CBC-9D7F-56BECBFD894D}" dt="2024-07-23T05:45:39.214" v="369"/>
          <ac:spMkLst>
            <pc:docMk/>
            <pc:sldMk cId="172092020" sldId="316"/>
            <ac:spMk id="7" creationId="{B6F93EA6-AADE-E249-795A-37170CB82327}"/>
          </ac:spMkLst>
        </pc:spChg>
        <pc:graphicFrameChg chg="add mod ord modVis replST">
          <ac:chgData name="Laurence White" userId="e5cf4429-16c7-4e12-a8fb-8b5fdd196d6f" providerId="ADAL" clId="{9B33D4F0-7F50-4CBC-9D7F-56BECBFD894D}" dt="2024-07-23T05:45:39.215" v="371"/>
          <ac:graphicFrameMkLst>
            <pc:docMk/>
            <pc:sldMk cId="172092020" sldId="316"/>
            <ac:graphicFrameMk id="6" creationId="{3F6C6E7D-09B2-FF8B-6251-446CC34555F6}"/>
          </ac:graphicFrameMkLst>
        </pc:graphicFrameChg>
      </pc:sldChg>
      <pc:sldChg chg="addSp delSp modSp mod">
        <pc:chgData name="Laurence White" userId="e5cf4429-16c7-4e12-a8fb-8b5fdd196d6f" providerId="ADAL" clId="{9B33D4F0-7F50-4CBC-9D7F-56BECBFD894D}" dt="2024-07-23T05:42:33.194" v="181"/>
        <pc:sldMkLst>
          <pc:docMk/>
          <pc:sldMk cId="2731212527" sldId="317"/>
        </pc:sldMkLst>
        <pc:spChg chg="mod">
          <ac:chgData name="Laurence White" userId="e5cf4429-16c7-4e12-a8fb-8b5fdd196d6f" providerId="ADAL" clId="{9B33D4F0-7F50-4CBC-9D7F-56BECBFD894D}" dt="2024-07-23T05:42:33.181" v="156" actId="948"/>
          <ac:spMkLst>
            <pc:docMk/>
            <pc:sldMk cId="2731212527" sldId="317"/>
            <ac:spMk id="2" creationId="{09FE4A7F-90B6-3D26-6E74-8C0B851FFDED}"/>
          </ac:spMkLst>
        </pc:spChg>
        <pc:spChg chg="add del mod modVis">
          <ac:chgData name="Laurence White" userId="e5cf4429-16c7-4e12-a8fb-8b5fdd196d6f" providerId="ADAL" clId="{9B33D4F0-7F50-4CBC-9D7F-56BECBFD894D}" dt="2024-07-23T05:42:27.397" v="122"/>
          <ac:spMkLst>
            <pc:docMk/>
            <pc:sldMk cId="2731212527" sldId="317"/>
            <ac:spMk id="3" creationId="{4CC37AAF-97A1-6C06-3C94-FEB0B2A3C127}"/>
          </ac:spMkLst>
        </pc:spChg>
        <pc:spChg chg="add del mod modVis">
          <ac:chgData name="Laurence White" userId="e5cf4429-16c7-4e12-a8fb-8b5fdd196d6f" providerId="ADAL" clId="{9B33D4F0-7F50-4CBC-9D7F-56BECBFD894D}" dt="2024-07-23T05:42:33.193" v="179"/>
          <ac:spMkLst>
            <pc:docMk/>
            <pc:sldMk cId="2731212527" sldId="317"/>
            <ac:spMk id="8" creationId="{38CBA1DB-B245-C1E0-A676-BA7AA2E3B244}"/>
          </ac:spMkLst>
        </pc:spChg>
        <pc:graphicFrameChg chg="add mod ord modVis replST">
          <ac:chgData name="Laurence White" userId="e5cf4429-16c7-4e12-a8fb-8b5fdd196d6f" providerId="ADAL" clId="{9B33D4F0-7F50-4CBC-9D7F-56BECBFD894D}" dt="2024-07-23T05:42:33.194" v="181"/>
          <ac:graphicFrameMkLst>
            <pc:docMk/>
            <pc:sldMk cId="2731212527" sldId="317"/>
            <ac:graphicFrameMk id="5" creationId="{FCE50A10-B3F7-C1F3-B4DC-F79A4DA8D819}"/>
          </ac:graphicFrameMkLst>
        </pc:graphicFrameChg>
      </pc:sldChg>
      <pc:sldChg chg="addSp delSp modSp mod ord">
        <pc:chgData name="Laurence White" userId="e5cf4429-16c7-4e12-a8fb-8b5fdd196d6f" providerId="ADAL" clId="{9B33D4F0-7F50-4CBC-9D7F-56BECBFD894D}" dt="2024-07-23T05:56:05.703" v="2038" actId="20577"/>
        <pc:sldMkLst>
          <pc:docMk/>
          <pc:sldMk cId="2969446249" sldId="318"/>
        </pc:sldMkLst>
        <pc:spChg chg="mod">
          <ac:chgData name="Laurence White" userId="e5cf4429-16c7-4e12-a8fb-8b5fdd196d6f" providerId="ADAL" clId="{9B33D4F0-7F50-4CBC-9D7F-56BECBFD894D}" dt="2024-07-23T05:55:38.540" v="1878" actId="948"/>
          <ac:spMkLst>
            <pc:docMk/>
            <pc:sldMk cId="2969446249" sldId="318"/>
            <ac:spMk id="2" creationId="{F580299C-EE5D-CC42-29CC-90CA51878BFD}"/>
          </ac:spMkLst>
        </pc:spChg>
        <pc:spChg chg="mod">
          <ac:chgData name="Laurence White" userId="e5cf4429-16c7-4e12-a8fb-8b5fdd196d6f" providerId="ADAL" clId="{9B33D4F0-7F50-4CBC-9D7F-56BECBFD894D}" dt="2024-07-23T05:56:05.703" v="2038" actId="20577"/>
          <ac:spMkLst>
            <pc:docMk/>
            <pc:sldMk cId="2969446249" sldId="318"/>
            <ac:spMk id="3" creationId="{20671BA6-7DD2-EFCA-2060-E26E059399BE}"/>
          </ac:spMkLst>
        </pc:spChg>
        <pc:spChg chg="add del mod modVis">
          <ac:chgData name="Laurence White" userId="e5cf4429-16c7-4e12-a8fb-8b5fdd196d6f" providerId="ADAL" clId="{9B33D4F0-7F50-4CBC-9D7F-56BECBFD894D}" dt="2024-07-23T05:48:49.282" v="1113"/>
          <ac:spMkLst>
            <pc:docMk/>
            <pc:sldMk cId="2969446249" sldId="318"/>
            <ac:spMk id="5" creationId="{1DDDD6CC-0B1D-D71B-E2D5-CC2E3A79C2F5}"/>
          </ac:spMkLst>
        </pc:spChg>
        <pc:spChg chg="add del mod modVis">
          <ac:chgData name="Laurence White" userId="e5cf4429-16c7-4e12-a8fb-8b5fdd196d6f" providerId="ADAL" clId="{9B33D4F0-7F50-4CBC-9D7F-56BECBFD894D}" dt="2024-07-23T05:55:38.556" v="1901"/>
          <ac:spMkLst>
            <pc:docMk/>
            <pc:sldMk cId="2969446249" sldId="318"/>
            <ac:spMk id="7" creationId="{0455570C-F812-8385-A204-FBDB435A7B76}"/>
          </ac:spMkLst>
        </pc:spChg>
        <pc:graphicFrameChg chg="add mod ord modVis replST">
          <ac:chgData name="Laurence White" userId="e5cf4429-16c7-4e12-a8fb-8b5fdd196d6f" providerId="ADAL" clId="{9B33D4F0-7F50-4CBC-9D7F-56BECBFD894D}" dt="2024-07-23T05:55:38.558" v="1903"/>
          <ac:graphicFrameMkLst>
            <pc:docMk/>
            <pc:sldMk cId="2969446249" sldId="318"/>
            <ac:graphicFrameMk id="6" creationId="{0AA33F53-80F6-3335-7DB5-73FF5D20DF74}"/>
          </ac:graphicFrameMkLst>
        </pc:graphicFrameChg>
      </pc:sldChg>
      <pc:sldChg chg="addSp delSp modSp mod">
        <pc:chgData name="Laurence White" userId="e5cf4429-16c7-4e12-a8fb-8b5fdd196d6f" providerId="ADAL" clId="{9B33D4F0-7F50-4CBC-9D7F-56BECBFD894D}" dt="2024-07-23T05:42:57.373" v="277"/>
        <pc:sldMkLst>
          <pc:docMk/>
          <pc:sldMk cId="2306916424" sldId="321"/>
        </pc:sldMkLst>
        <pc:spChg chg="mod">
          <ac:chgData name="Laurence White" userId="e5cf4429-16c7-4e12-a8fb-8b5fdd196d6f" providerId="ADAL" clId="{9B33D4F0-7F50-4CBC-9D7F-56BECBFD894D}" dt="2024-07-23T05:42:57.370" v="273" actId="948"/>
          <ac:spMkLst>
            <pc:docMk/>
            <pc:sldMk cId="2306916424" sldId="321"/>
            <ac:spMk id="2" creationId="{5C21EEA5-E84E-D7D0-008D-6231DAE7B015}"/>
          </ac:spMkLst>
        </pc:spChg>
        <pc:spChg chg="mod">
          <ac:chgData name="Laurence White" userId="e5cf4429-16c7-4e12-a8fb-8b5fdd196d6f" providerId="ADAL" clId="{9B33D4F0-7F50-4CBC-9D7F-56BECBFD894D}" dt="2024-07-23T05:42:52.551" v="271" actId="14100"/>
          <ac:spMkLst>
            <pc:docMk/>
            <pc:sldMk cId="2306916424" sldId="321"/>
            <ac:spMk id="3" creationId="{8B4B0027-4143-0714-8FE8-CC82A8A4E7F1}"/>
          </ac:spMkLst>
        </pc:spChg>
        <pc:spChg chg="add del mod modVis">
          <ac:chgData name="Laurence White" userId="e5cf4429-16c7-4e12-a8fb-8b5fdd196d6f" providerId="ADAL" clId="{9B33D4F0-7F50-4CBC-9D7F-56BECBFD894D}" dt="2024-07-23T05:42:46.683" v="228"/>
          <ac:spMkLst>
            <pc:docMk/>
            <pc:sldMk cId="2306916424" sldId="321"/>
            <ac:spMk id="5" creationId="{B2F42040-B589-7B5B-1ED9-0D5EB525D182}"/>
          </ac:spMkLst>
        </pc:spChg>
        <pc:spChg chg="add del mod modVis">
          <ac:chgData name="Laurence White" userId="e5cf4429-16c7-4e12-a8fb-8b5fdd196d6f" providerId="ADAL" clId="{9B33D4F0-7F50-4CBC-9D7F-56BECBFD894D}" dt="2024-07-23T05:42:48.317" v="268"/>
          <ac:spMkLst>
            <pc:docMk/>
            <pc:sldMk cId="2306916424" sldId="321"/>
            <ac:spMk id="7" creationId="{350E22E5-4F61-ABEE-9D4F-B6DD01EC47BF}"/>
          </ac:spMkLst>
        </pc:spChg>
        <pc:graphicFrameChg chg="add mod ord modVis replST">
          <ac:chgData name="Laurence White" userId="e5cf4429-16c7-4e12-a8fb-8b5fdd196d6f" providerId="ADAL" clId="{9B33D4F0-7F50-4CBC-9D7F-56BECBFD894D}" dt="2024-07-23T05:42:57.373" v="277"/>
          <ac:graphicFrameMkLst>
            <pc:docMk/>
            <pc:sldMk cId="2306916424" sldId="321"/>
            <ac:graphicFrameMk id="6" creationId="{D685617E-D4FD-947D-424F-F1CE6EA494D6}"/>
          </ac:graphicFrameMkLst>
        </pc:graphicFrameChg>
      </pc:sldChg>
      <pc:sldChg chg="modSp mod">
        <pc:chgData name="Laurence White" userId="e5cf4429-16c7-4e12-a8fb-8b5fdd196d6f" providerId="ADAL" clId="{9B33D4F0-7F50-4CBC-9D7F-56BECBFD894D}" dt="2024-07-23T05:54:36.430" v="1774" actId="20578"/>
        <pc:sldMkLst>
          <pc:docMk/>
          <pc:sldMk cId="1676261131" sldId="322"/>
        </pc:sldMkLst>
        <pc:spChg chg="mod">
          <ac:chgData name="Laurence White" userId="e5cf4429-16c7-4e12-a8fb-8b5fdd196d6f" providerId="ADAL" clId="{9B33D4F0-7F50-4CBC-9D7F-56BECBFD894D}" dt="2024-07-23T05:54:36.430" v="1774" actId="20578"/>
          <ac:spMkLst>
            <pc:docMk/>
            <pc:sldMk cId="1676261131" sldId="322"/>
            <ac:spMk id="5" creationId="{122A114E-E89E-F900-4F2D-0CED4BA0B3C6}"/>
          </ac:spMkLst>
        </pc:spChg>
      </pc:sldChg>
      <pc:sldChg chg="modSp mod">
        <pc:chgData name="Laurence White" userId="e5cf4429-16c7-4e12-a8fb-8b5fdd196d6f" providerId="ADAL" clId="{9B33D4F0-7F50-4CBC-9D7F-56BECBFD894D}" dt="2024-07-23T05:51:15.071" v="1432" actId="20577"/>
        <pc:sldMkLst>
          <pc:docMk/>
          <pc:sldMk cId="1994509278" sldId="323"/>
        </pc:sldMkLst>
        <pc:spChg chg="mod">
          <ac:chgData name="Laurence White" userId="e5cf4429-16c7-4e12-a8fb-8b5fdd196d6f" providerId="ADAL" clId="{9B33D4F0-7F50-4CBC-9D7F-56BECBFD894D}" dt="2024-07-23T05:51:15.071" v="1432" actId="20577"/>
          <ac:spMkLst>
            <pc:docMk/>
            <pc:sldMk cId="1994509278" sldId="323"/>
            <ac:spMk id="5" creationId="{F18856B7-A756-05D7-7FCC-D437BE283E72}"/>
          </ac:spMkLst>
        </pc:spChg>
      </pc:sldChg>
      <pc:sldChg chg="modSp mod">
        <pc:chgData name="Laurence White" userId="e5cf4429-16c7-4e12-a8fb-8b5fdd196d6f" providerId="ADAL" clId="{9B33D4F0-7F50-4CBC-9D7F-56BECBFD894D}" dt="2024-07-23T05:59:25.094" v="2720" actId="20577"/>
        <pc:sldMkLst>
          <pc:docMk/>
          <pc:sldMk cId="2178206035" sldId="324"/>
        </pc:sldMkLst>
        <pc:spChg chg="mod">
          <ac:chgData name="Laurence White" userId="e5cf4429-16c7-4e12-a8fb-8b5fdd196d6f" providerId="ADAL" clId="{9B33D4F0-7F50-4CBC-9D7F-56BECBFD894D}" dt="2024-07-23T05:59:25.094" v="2720" actId="20577"/>
          <ac:spMkLst>
            <pc:docMk/>
            <pc:sldMk cId="2178206035" sldId="324"/>
            <ac:spMk id="6" creationId="{8865A8EE-1CF0-2179-F894-FF84C9F6D4C3}"/>
          </ac:spMkLst>
        </pc:spChg>
      </pc:sldChg>
      <pc:sldChg chg="addSp delSp modSp mod">
        <pc:chgData name="Laurence White" userId="e5cf4429-16c7-4e12-a8fb-8b5fdd196d6f" providerId="ADAL" clId="{9B33D4F0-7F50-4CBC-9D7F-56BECBFD894D}" dt="2024-07-23T06:02:24.098" v="2846"/>
        <pc:sldMkLst>
          <pc:docMk/>
          <pc:sldMk cId="303700161" sldId="331"/>
        </pc:sldMkLst>
        <pc:spChg chg="add del mod modVis">
          <ac:chgData name="Laurence White" userId="e5cf4429-16c7-4e12-a8fb-8b5fdd196d6f" providerId="ADAL" clId="{9B33D4F0-7F50-4CBC-9D7F-56BECBFD894D}" dt="2024-07-23T06:00:23.011" v="2751"/>
          <ac:spMkLst>
            <pc:docMk/>
            <pc:sldMk cId="303700161" sldId="331"/>
            <ac:spMk id="2" creationId="{828B44E4-B883-1AFF-1F09-9E19DFF46203}"/>
          </ac:spMkLst>
        </pc:spChg>
        <pc:spChg chg="mod">
          <ac:chgData name="Laurence White" userId="e5cf4429-16c7-4e12-a8fb-8b5fdd196d6f" providerId="ADAL" clId="{9B33D4F0-7F50-4CBC-9D7F-56BECBFD894D}" dt="2024-07-23T06:02:24.093" v="2842" actId="948"/>
          <ac:spMkLst>
            <pc:docMk/>
            <pc:sldMk cId="303700161" sldId="331"/>
            <ac:spMk id="5" creationId="{F406C9F9-DBB4-DDFA-658E-167B54E302A3}"/>
          </ac:spMkLst>
        </pc:spChg>
        <pc:spChg chg="add del mod modVis">
          <ac:chgData name="Laurence White" userId="e5cf4429-16c7-4e12-a8fb-8b5fdd196d6f" providerId="ADAL" clId="{9B33D4F0-7F50-4CBC-9D7F-56BECBFD894D}" dt="2024-07-23T06:00:24.462" v="2796"/>
          <ac:spMkLst>
            <pc:docMk/>
            <pc:sldMk cId="303700161" sldId="331"/>
            <ac:spMk id="6" creationId="{3758E2EA-4682-A537-DFFA-E413E3D05E4F}"/>
          </ac:spMkLst>
        </pc:spChg>
        <pc:spChg chg="add del mod modVis">
          <ac:chgData name="Laurence White" userId="e5cf4429-16c7-4e12-a8fb-8b5fdd196d6f" providerId="ADAL" clId="{9B33D4F0-7F50-4CBC-9D7F-56BECBFD894D}" dt="2024-07-23T06:02:19.949" v="2838"/>
          <ac:spMkLst>
            <pc:docMk/>
            <pc:sldMk cId="303700161" sldId="331"/>
            <ac:spMk id="7" creationId="{21DD0F72-2B57-1CB3-C850-A842FCA05A97}"/>
          </ac:spMkLst>
        </pc:spChg>
        <pc:graphicFrameChg chg="add mod ord modVis replST">
          <ac:chgData name="Laurence White" userId="e5cf4429-16c7-4e12-a8fb-8b5fdd196d6f" providerId="ADAL" clId="{9B33D4F0-7F50-4CBC-9D7F-56BECBFD894D}" dt="2024-07-23T06:02:24.098" v="2846"/>
          <ac:graphicFrameMkLst>
            <pc:docMk/>
            <pc:sldMk cId="303700161" sldId="331"/>
            <ac:graphicFrameMk id="3" creationId="{16C060D3-900F-EA3E-46C9-38E69C8B45F3}"/>
          </ac:graphicFrameMkLst>
        </pc:graphicFrameChg>
      </pc:sldChg>
      <pc:sldChg chg="modSp new del mod">
        <pc:chgData name="Laurence White" userId="e5cf4429-16c7-4e12-a8fb-8b5fdd196d6f" providerId="ADAL" clId="{9B33D4F0-7F50-4CBC-9D7F-56BECBFD894D}" dt="2024-06-25T00:14:30.322" v="55" actId="2696"/>
        <pc:sldMkLst>
          <pc:docMk/>
          <pc:sldMk cId="187016378" sldId="332"/>
        </pc:sldMkLst>
        <pc:spChg chg="mod">
          <ac:chgData name="Laurence White" userId="e5cf4429-16c7-4e12-a8fb-8b5fdd196d6f" providerId="ADAL" clId="{9B33D4F0-7F50-4CBC-9D7F-56BECBFD894D}" dt="2024-06-25T00:13:25.506" v="54" actId="20577"/>
          <ac:spMkLst>
            <pc:docMk/>
            <pc:sldMk cId="187016378" sldId="332"/>
            <ac:spMk id="2" creationId="{78D01C4C-C2E6-4A39-727A-79CF1B326C32}"/>
          </ac:spMkLst>
        </pc:spChg>
      </pc:sldChg>
      <pc:sldMasterChg chg="addSp delSp modSp mod">
        <pc:chgData name="Laurence White" userId="e5cf4429-16c7-4e12-a8fb-8b5fdd196d6f" providerId="ADAL" clId="{9B33D4F0-7F50-4CBC-9D7F-56BECBFD894D}" dt="2024-07-23T05:42:27.429" v="154"/>
        <pc:sldMasterMkLst>
          <pc:docMk/>
          <pc:sldMasterMk cId="3309429880" sldId="2147483648"/>
        </pc:sldMasterMkLst>
        <pc:spChg chg="mod">
          <ac:chgData name="Laurence White" userId="e5cf4429-16c7-4e12-a8fb-8b5fdd196d6f" providerId="ADAL" clId="{9B33D4F0-7F50-4CBC-9D7F-56BECBFD894D}" dt="2024-07-23T05:42:27.383" v="99" actId="948"/>
          <ac:spMkLst>
            <pc:docMk/>
            <pc:sldMasterMk cId="3309429880" sldId="2147483648"/>
            <ac:spMk id="2" creationId="{DA9D2A08-CCE1-48F4-8C7A-AAD479C886A4}"/>
          </ac:spMkLst>
        </pc:spChg>
        <pc:spChg chg="add del mod modVis">
          <ac:chgData name="Laurence White" userId="e5cf4429-16c7-4e12-a8fb-8b5fdd196d6f" providerId="ADAL" clId="{9B33D4F0-7F50-4CBC-9D7F-56BECBFD894D}" dt="2024-07-23T05:42:27.414" v="139"/>
          <ac:spMkLst>
            <pc:docMk/>
            <pc:sldMasterMk cId="3309429880" sldId="2147483648"/>
            <ac:spMk id="4" creationId="{8A6598CA-79A7-9C26-3372-AC205138F32A}"/>
          </ac:spMkLst>
        </pc:spChg>
        <pc:graphicFrameChg chg="add mod ord modVis replST">
          <ac:chgData name="Laurence White" userId="e5cf4429-16c7-4e12-a8fb-8b5fdd196d6f" providerId="ADAL" clId="{9B33D4F0-7F50-4CBC-9D7F-56BECBFD894D}" dt="2024-07-23T05:42:27.429" v="154"/>
          <ac:graphicFrameMkLst>
            <pc:docMk/>
            <pc:sldMasterMk cId="3309429880" sldId="2147483648"/>
            <ac:graphicFrameMk id="5" creationId="{D887630E-F4A6-35AA-746C-B7E83A7C64EB}"/>
          </ac:graphicFrameMkLst>
        </pc:graphicFrameChg>
      </pc:sldMasterChg>
    </pc:docChg>
  </pc:docChgLst>
  <pc:docChgLst>
    <pc:chgData name="Susan Gatford" userId="a3ee4ce2f668b6dd" providerId="LiveId" clId="{1F94FFBC-EF08-4240-9B95-8F2AF5F56F59}"/>
    <pc:docChg chg="undo custSel addSld delSld modSld sldOrd">
      <pc:chgData name="Susan Gatford" userId="a3ee4ce2f668b6dd" providerId="LiveId" clId="{1F94FFBC-EF08-4240-9B95-8F2AF5F56F59}" dt="2024-07-24T02:03:40.011" v="688" actId="27636"/>
      <pc:docMkLst>
        <pc:docMk/>
      </pc:docMkLst>
      <pc:sldChg chg="addSp delSp modSp del mod ord">
        <pc:chgData name="Susan Gatford" userId="a3ee4ce2f668b6dd" providerId="LiveId" clId="{1F94FFBC-EF08-4240-9B95-8F2AF5F56F59}" dt="2024-07-24T01:38:54.491" v="657" actId="47"/>
        <pc:sldMkLst>
          <pc:docMk/>
          <pc:sldMk cId="3506877033" sldId="256"/>
        </pc:sldMkLst>
        <pc:spChg chg="mod">
          <ac:chgData name="Susan Gatford" userId="a3ee4ce2f668b6dd" providerId="LiveId" clId="{1F94FFBC-EF08-4240-9B95-8F2AF5F56F59}" dt="2024-07-24T01:28:05.056" v="327" actId="20577"/>
          <ac:spMkLst>
            <pc:docMk/>
            <pc:sldMk cId="3506877033" sldId="256"/>
            <ac:spMk id="2" creationId="{C25919D4-5A65-47F8-B22D-0938642B2CF5}"/>
          </ac:spMkLst>
        </pc:spChg>
        <pc:spChg chg="mod">
          <ac:chgData name="Susan Gatford" userId="a3ee4ce2f668b6dd" providerId="LiveId" clId="{1F94FFBC-EF08-4240-9B95-8F2AF5F56F59}" dt="2024-07-24T01:30:04.300" v="347" actId="113"/>
          <ac:spMkLst>
            <pc:docMk/>
            <pc:sldMk cId="3506877033" sldId="256"/>
            <ac:spMk id="3" creationId="{3D3226DF-9DF7-4FB0-B25B-5BD2895F7ED7}"/>
          </ac:spMkLst>
        </pc:spChg>
        <pc:picChg chg="del mod">
          <ac:chgData name="Susan Gatford" userId="a3ee4ce2f668b6dd" providerId="LiveId" clId="{1F94FFBC-EF08-4240-9B95-8F2AF5F56F59}" dt="2024-07-24T01:31:28.731" v="356" actId="21"/>
          <ac:picMkLst>
            <pc:docMk/>
            <pc:sldMk cId="3506877033" sldId="256"/>
            <ac:picMk id="4" creationId="{FAF4DACB-35BA-4F5B-B7E9-08E03C2AED1E}"/>
          </ac:picMkLst>
        </pc:picChg>
        <pc:picChg chg="add mod">
          <ac:chgData name="Susan Gatford" userId="a3ee4ce2f668b6dd" providerId="LiveId" clId="{1F94FFBC-EF08-4240-9B95-8F2AF5F56F59}" dt="2024-07-24T01:27:20.445" v="272" actId="1076"/>
          <ac:picMkLst>
            <pc:docMk/>
            <pc:sldMk cId="3506877033" sldId="256"/>
            <ac:picMk id="7" creationId="{79194F95-7274-EFB6-1013-894D70340BCF}"/>
          </ac:picMkLst>
        </pc:picChg>
        <pc:picChg chg="add del mod">
          <ac:chgData name="Susan Gatford" userId="a3ee4ce2f668b6dd" providerId="LiveId" clId="{1F94FFBC-EF08-4240-9B95-8F2AF5F56F59}" dt="2024-07-24T01:30:52.137" v="351" actId="21"/>
          <ac:picMkLst>
            <pc:docMk/>
            <pc:sldMk cId="3506877033" sldId="256"/>
            <ac:picMk id="8" creationId="{8615DA09-078E-1381-DDD2-7BB60ECCB6BC}"/>
          </ac:picMkLst>
        </pc:picChg>
        <pc:picChg chg="add">
          <ac:chgData name="Susan Gatford" userId="a3ee4ce2f668b6dd" providerId="LiveId" clId="{1F94FFBC-EF08-4240-9B95-8F2AF5F56F59}" dt="2024-07-24T01:28:20.509" v="328"/>
          <ac:picMkLst>
            <pc:docMk/>
            <pc:sldMk cId="3506877033" sldId="256"/>
            <ac:picMk id="9" creationId="{75F0CE7F-2058-3C14-14AD-B7290F52FEE6}"/>
          </ac:picMkLst>
        </pc:picChg>
        <pc:picChg chg="add">
          <ac:chgData name="Susan Gatford" userId="a3ee4ce2f668b6dd" providerId="LiveId" clId="{1F94FFBC-EF08-4240-9B95-8F2AF5F56F59}" dt="2024-07-24T01:28:55.372" v="335"/>
          <ac:picMkLst>
            <pc:docMk/>
            <pc:sldMk cId="3506877033" sldId="256"/>
            <ac:picMk id="10" creationId="{8D490BD6-1802-A6B5-244C-A89AB54DE45B}"/>
          </ac:picMkLst>
        </pc:picChg>
      </pc:sldChg>
      <pc:sldChg chg="addSp delSp mod">
        <pc:chgData name="Susan Gatford" userId="a3ee4ce2f668b6dd" providerId="LiveId" clId="{1F94FFBC-EF08-4240-9B95-8F2AF5F56F59}" dt="2024-07-24T01:03:45.366" v="4" actId="22"/>
        <pc:sldMkLst>
          <pc:docMk/>
          <pc:sldMk cId="2942979920" sldId="314"/>
        </pc:sldMkLst>
        <pc:spChg chg="add del">
          <ac:chgData name="Susan Gatford" userId="a3ee4ce2f668b6dd" providerId="LiveId" clId="{1F94FFBC-EF08-4240-9B95-8F2AF5F56F59}" dt="2024-07-24T01:03:45.366" v="4" actId="22"/>
          <ac:spMkLst>
            <pc:docMk/>
            <pc:sldMk cId="2942979920" sldId="314"/>
            <ac:spMk id="3" creationId="{30CE487F-AA34-8A05-688C-B0D071350C8C}"/>
          </ac:spMkLst>
        </pc:spChg>
      </pc:sldChg>
      <pc:sldChg chg="new del">
        <pc:chgData name="Susan Gatford" userId="a3ee4ce2f668b6dd" providerId="LiveId" clId="{1F94FFBC-EF08-4240-9B95-8F2AF5F56F59}" dt="2024-07-24T01:16:49.720" v="8" actId="47"/>
        <pc:sldMkLst>
          <pc:docMk/>
          <pc:sldMk cId="3983429764" sldId="332"/>
        </pc:sldMkLst>
      </pc:sldChg>
      <pc:sldChg chg="new del">
        <pc:chgData name="Susan Gatford" userId="a3ee4ce2f668b6dd" providerId="LiveId" clId="{1F94FFBC-EF08-4240-9B95-8F2AF5F56F59}" dt="2024-07-24T01:16:50.907" v="9" actId="47"/>
        <pc:sldMkLst>
          <pc:docMk/>
          <pc:sldMk cId="2721555540" sldId="333"/>
        </pc:sldMkLst>
      </pc:sldChg>
      <pc:sldChg chg="new del">
        <pc:chgData name="Susan Gatford" userId="a3ee4ce2f668b6dd" providerId="LiveId" clId="{1F94FFBC-EF08-4240-9B95-8F2AF5F56F59}" dt="2024-07-24T01:16:51.870" v="10" actId="47"/>
        <pc:sldMkLst>
          <pc:docMk/>
          <pc:sldMk cId="2171590480" sldId="334"/>
        </pc:sldMkLst>
      </pc:sldChg>
      <pc:sldChg chg="new del">
        <pc:chgData name="Susan Gatford" userId="a3ee4ce2f668b6dd" providerId="LiveId" clId="{1F94FFBC-EF08-4240-9B95-8F2AF5F56F59}" dt="2024-07-24T01:49:28.444" v="662" actId="47"/>
        <pc:sldMkLst>
          <pc:docMk/>
          <pc:sldMk cId="1117640783" sldId="335"/>
        </pc:sldMkLst>
      </pc:sldChg>
      <pc:sldChg chg="modSp mod">
        <pc:chgData name="Susan Gatford" userId="a3ee4ce2f668b6dd" providerId="LiveId" clId="{1F94FFBC-EF08-4240-9B95-8F2AF5F56F59}" dt="2024-07-24T02:02:54.382" v="676" actId="27636"/>
        <pc:sldMkLst>
          <pc:docMk/>
          <pc:sldMk cId="3217250968" sldId="340"/>
        </pc:sldMkLst>
        <pc:spChg chg="mod">
          <ac:chgData name="Susan Gatford" userId="a3ee4ce2f668b6dd" providerId="LiveId" clId="{1F94FFBC-EF08-4240-9B95-8F2AF5F56F59}" dt="2024-07-24T01:05:57.669" v="6" actId="20577"/>
          <ac:spMkLst>
            <pc:docMk/>
            <pc:sldMk cId="3217250968" sldId="340"/>
            <ac:spMk id="3" creationId="{934E37E6-B0D9-9BA6-3C07-83DB91D5372F}"/>
          </ac:spMkLst>
        </pc:spChg>
        <pc:spChg chg="mod">
          <ac:chgData name="Susan Gatford" userId="a3ee4ce2f668b6dd" providerId="LiveId" clId="{1F94FFBC-EF08-4240-9B95-8F2AF5F56F59}" dt="2024-07-24T02:02:54.382" v="676" actId="27636"/>
          <ac:spMkLst>
            <pc:docMk/>
            <pc:sldMk cId="3217250968" sldId="340"/>
            <ac:spMk id="4" creationId="{2A3043F9-519E-40D3-0556-69BECD2D40E2}"/>
          </ac:spMkLst>
        </pc:spChg>
      </pc:sldChg>
      <pc:sldChg chg="modSp mod">
        <pc:chgData name="Susan Gatford" userId="a3ee4ce2f668b6dd" providerId="LiveId" clId="{1F94FFBC-EF08-4240-9B95-8F2AF5F56F59}" dt="2024-07-24T02:02:35.906" v="671" actId="27636"/>
        <pc:sldMkLst>
          <pc:docMk/>
          <pc:sldMk cId="2619143738" sldId="345"/>
        </pc:sldMkLst>
        <pc:spChg chg="mod">
          <ac:chgData name="Susan Gatford" userId="a3ee4ce2f668b6dd" providerId="LiveId" clId="{1F94FFBC-EF08-4240-9B95-8F2AF5F56F59}" dt="2024-07-24T02:02:35.906" v="671" actId="27636"/>
          <ac:spMkLst>
            <pc:docMk/>
            <pc:sldMk cId="2619143738" sldId="345"/>
            <ac:spMk id="4" creationId="{F9D0BD5E-283A-D975-4337-DBB799375F06}"/>
          </ac:spMkLst>
        </pc:spChg>
      </pc:sldChg>
      <pc:sldChg chg="modSp mod">
        <pc:chgData name="Susan Gatford" userId="a3ee4ce2f668b6dd" providerId="LiveId" clId="{1F94FFBC-EF08-4240-9B95-8F2AF5F56F59}" dt="2024-07-24T02:03:03.666" v="678" actId="27636"/>
        <pc:sldMkLst>
          <pc:docMk/>
          <pc:sldMk cId="1909854971" sldId="347"/>
        </pc:sldMkLst>
        <pc:spChg chg="mod">
          <ac:chgData name="Susan Gatford" userId="a3ee4ce2f668b6dd" providerId="LiveId" clId="{1F94FFBC-EF08-4240-9B95-8F2AF5F56F59}" dt="2024-07-24T02:03:03.666" v="678" actId="27636"/>
          <ac:spMkLst>
            <pc:docMk/>
            <pc:sldMk cId="1909854971" sldId="347"/>
            <ac:spMk id="4" creationId="{92CA1E7A-501B-DFB2-FFC2-BD0E8086398B}"/>
          </ac:spMkLst>
        </pc:spChg>
      </pc:sldChg>
      <pc:sldChg chg="modSp mod">
        <pc:chgData name="Susan Gatford" userId="a3ee4ce2f668b6dd" providerId="LiveId" clId="{1F94FFBC-EF08-4240-9B95-8F2AF5F56F59}" dt="2024-07-24T02:01:53.210" v="665" actId="27636"/>
        <pc:sldMkLst>
          <pc:docMk/>
          <pc:sldMk cId="277529623" sldId="351"/>
        </pc:sldMkLst>
        <pc:spChg chg="mod">
          <ac:chgData name="Susan Gatford" userId="a3ee4ce2f668b6dd" providerId="LiveId" clId="{1F94FFBC-EF08-4240-9B95-8F2AF5F56F59}" dt="2024-07-24T02:01:53.210" v="665" actId="27636"/>
          <ac:spMkLst>
            <pc:docMk/>
            <pc:sldMk cId="277529623" sldId="351"/>
            <ac:spMk id="4" creationId="{333DD68B-E90F-FD55-C4B3-B40F973985BE}"/>
          </ac:spMkLst>
        </pc:spChg>
      </pc:sldChg>
      <pc:sldChg chg="modSp mod">
        <pc:chgData name="Susan Gatford" userId="a3ee4ce2f668b6dd" providerId="LiveId" clId="{1F94FFBC-EF08-4240-9B95-8F2AF5F56F59}" dt="2024-07-24T02:03:14.422" v="681" actId="27636"/>
        <pc:sldMkLst>
          <pc:docMk/>
          <pc:sldMk cId="2882943505" sldId="356"/>
        </pc:sldMkLst>
        <pc:spChg chg="mod">
          <ac:chgData name="Susan Gatford" userId="a3ee4ce2f668b6dd" providerId="LiveId" clId="{1F94FFBC-EF08-4240-9B95-8F2AF5F56F59}" dt="2024-07-24T02:03:10.456" v="679" actId="6549"/>
          <ac:spMkLst>
            <pc:docMk/>
            <pc:sldMk cId="2882943505" sldId="356"/>
            <ac:spMk id="2" creationId="{E6163A5C-A591-DC48-E25D-83B489DC633F}"/>
          </ac:spMkLst>
        </pc:spChg>
        <pc:spChg chg="mod">
          <ac:chgData name="Susan Gatford" userId="a3ee4ce2f668b6dd" providerId="LiveId" clId="{1F94FFBC-EF08-4240-9B95-8F2AF5F56F59}" dt="2024-07-24T02:03:14.422" v="681" actId="27636"/>
          <ac:spMkLst>
            <pc:docMk/>
            <pc:sldMk cId="2882943505" sldId="356"/>
            <ac:spMk id="4" creationId="{0AB3F625-A9DE-7EF6-A6E1-71542A9E045A}"/>
          </ac:spMkLst>
        </pc:spChg>
      </pc:sldChg>
      <pc:sldChg chg="modSp mod">
        <pc:chgData name="Susan Gatford" userId="a3ee4ce2f668b6dd" providerId="LiveId" clId="{1F94FFBC-EF08-4240-9B95-8F2AF5F56F59}" dt="2024-07-24T02:02:42.300" v="673" actId="27636"/>
        <pc:sldMkLst>
          <pc:docMk/>
          <pc:sldMk cId="2502903488" sldId="358"/>
        </pc:sldMkLst>
        <pc:spChg chg="mod">
          <ac:chgData name="Susan Gatford" userId="a3ee4ce2f668b6dd" providerId="LiveId" clId="{1F94FFBC-EF08-4240-9B95-8F2AF5F56F59}" dt="2024-07-24T02:02:42.300" v="673" actId="27636"/>
          <ac:spMkLst>
            <pc:docMk/>
            <pc:sldMk cId="2502903488" sldId="358"/>
            <ac:spMk id="4" creationId="{D8D121A7-1D62-1BC1-BDF3-F427EA0A1F24}"/>
          </ac:spMkLst>
        </pc:spChg>
      </pc:sldChg>
      <pc:sldChg chg="modSp mod">
        <pc:chgData name="Susan Gatford" userId="a3ee4ce2f668b6dd" providerId="LiveId" clId="{1F94FFBC-EF08-4240-9B95-8F2AF5F56F59}" dt="2024-07-24T02:02:47.819" v="674" actId="14100"/>
        <pc:sldMkLst>
          <pc:docMk/>
          <pc:sldMk cId="2587261062" sldId="359"/>
        </pc:sldMkLst>
        <pc:spChg chg="mod">
          <ac:chgData name="Susan Gatford" userId="a3ee4ce2f668b6dd" providerId="LiveId" clId="{1F94FFBC-EF08-4240-9B95-8F2AF5F56F59}" dt="2024-07-24T02:02:47.819" v="674" actId="14100"/>
          <ac:spMkLst>
            <pc:docMk/>
            <pc:sldMk cId="2587261062" sldId="359"/>
            <ac:spMk id="4" creationId="{659F7C04-7D51-AAF8-624C-19A698E6241F}"/>
          </ac:spMkLst>
        </pc:spChg>
      </pc:sldChg>
      <pc:sldChg chg="modSp mod">
        <pc:chgData name="Susan Gatford" userId="a3ee4ce2f668b6dd" providerId="LiveId" clId="{1F94FFBC-EF08-4240-9B95-8F2AF5F56F59}" dt="2024-07-24T02:02:06.005" v="667" actId="27636"/>
        <pc:sldMkLst>
          <pc:docMk/>
          <pc:sldMk cId="3859331917" sldId="364"/>
        </pc:sldMkLst>
        <pc:spChg chg="mod">
          <ac:chgData name="Susan Gatford" userId="a3ee4ce2f668b6dd" providerId="LiveId" clId="{1F94FFBC-EF08-4240-9B95-8F2AF5F56F59}" dt="2024-07-24T02:02:06.005" v="667" actId="27636"/>
          <ac:spMkLst>
            <pc:docMk/>
            <pc:sldMk cId="3859331917" sldId="364"/>
            <ac:spMk id="4" creationId="{2AECCA2C-B87B-792F-AE17-5ED5928E905F}"/>
          </ac:spMkLst>
        </pc:spChg>
      </pc:sldChg>
      <pc:sldChg chg="modSp mod">
        <pc:chgData name="Susan Gatford" userId="a3ee4ce2f668b6dd" providerId="LiveId" clId="{1F94FFBC-EF08-4240-9B95-8F2AF5F56F59}" dt="2024-07-24T02:03:40.011" v="688" actId="27636"/>
        <pc:sldMkLst>
          <pc:docMk/>
          <pc:sldMk cId="3590292369" sldId="374"/>
        </pc:sldMkLst>
        <pc:spChg chg="mod">
          <ac:chgData name="Susan Gatford" userId="a3ee4ce2f668b6dd" providerId="LiveId" clId="{1F94FFBC-EF08-4240-9B95-8F2AF5F56F59}" dt="2024-07-24T02:03:40.011" v="688" actId="27636"/>
          <ac:spMkLst>
            <pc:docMk/>
            <pc:sldMk cId="3590292369" sldId="374"/>
            <ac:spMk id="4" creationId="{7DCA9A0B-2C18-53D6-E549-4CC99D1E7CDD}"/>
          </ac:spMkLst>
        </pc:spChg>
      </pc:sldChg>
      <pc:sldChg chg="modSp mod">
        <pc:chgData name="Susan Gatford" userId="a3ee4ce2f668b6dd" providerId="LiveId" clId="{1F94FFBC-EF08-4240-9B95-8F2AF5F56F59}" dt="2024-07-24T02:03:32.067" v="686" actId="27636"/>
        <pc:sldMkLst>
          <pc:docMk/>
          <pc:sldMk cId="61250205" sldId="376"/>
        </pc:sldMkLst>
        <pc:spChg chg="mod">
          <ac:chgData name="Susan Gatford" userId="a3ee4ce2f668b6dd" providerId="LiveId" clId="{1F94FFBC-EF08-4240-9B95-8F2AF5F56F59}" dt="2024-07-24T02:03:32.067" v="686" actId="27636"/>
          <ac:spMkLst>
            <pc:docMk/>
            <pc:sldMk cId="61250205" sldId="376"/>
            <ac:spMk id="4" creationId="{99BDEBC0-19BF-6174-2928-78F3D7E4F920}"/>
          </ac:spMkLst>
        </pc:spChg>
      </pc:sldChg>
      <pc:sldChg chg="modSp mod">
        <pc:chgData name="Susan Gatford" userId="a3ee4ce2f668b6dd" providerId="LiveId" clId="{1F94FFBC-EF08-4240-9B95-8F2AF5F56F59}" dt="2024-07-24T01:06:36.005" v="7" actId="14100"/>
        <pc:sldMkLst>
          <pc:docMk/>
          <pc:sldMk cId="1713888486" sldId="531"/>
        </pc:sldMkLst>
        <pc:graphicFrameChg chg="mod">
          <ac:chgData name="Susan Gatford" userId="a3ee4ce2f668b6dd" providerId="LiveId" clId="{1F94FFBC-EF08-4240-9B95-8F2AF5F56F59}" dt="2024-07-24T01:06:36.005" v="7" actId="14100"/>
          <ac:graphicFrameMkLst>
            <pc:docMk/>
            <pc:sldMk cId="1713888486" sldId="531"/>
            <ac:graphicFrameMk id="7" creationId="{7BF58B47-AEAF-0490-5D9B-E2187AA5E4A4}"/>
          </ac:graphicFrameMkLst>
        </pc:graphicFrameChg>
      </pc:sldChg>
      <pc:sldChg chg="modSp mod">
        <pc:chgData name="Susan Gatford" userId="a3ee4ce2f668b6dd" providerId="LiveId" clId="{1F94FFBC-EF08-4240-9B95-8F2AF5F56F59}" dt="2024-07-24T02:02:22.549" v="669" actId="27636"/>
        <pc:sldMkLst>
          <pc:docMk/>
          <pc:sldMk cId="1274596636" sldId="553"/>
        </pc:sldMkLst>
        <pc:spChg chg="mod">
          <ac:chgData name="Susan Gatford" userId="a3ee4ce2f668b6dd" providerId="LiveId" clId="{1F94FFBC-EF08-4240-9B95-8F2AF5F56F59}" dt="2024-07-24T02:02:22.549" v="669" actId="27636"/>
          <ac:spMkLst>
            <pc:docMk/>
            <pc:sldMk cId="1274596636" sldId="553"/>
            <ac:spMk id="4" creationId="{95A0F9D1-F2DE-E2E2-0151-E0E18A637EF3}"/>
          </ac:spMkLst>
        </pc:spChg>
      </pc:sldChg>
      <pc:sldChg chg="modSp mod">
        <pc:chgData name="Susan Gatford" userId="a3ee4ce2f668b6dd" providerId="LiveId" clId="{1F94FFBC-EF08-4240-9B95-8F2AF5F56F59}" dt="2024-07-24T02:03:24.247" v="684" actId="27636"/>
        <pc:sldMkLst>
          <pc:docMk/>
          <pc:sldMk cId="3242636780" sldId="563"/>
        </pc:sldMkLst>
        <pc:spChg chg="mod">
          <ac:chgData name="Susan Gatford" userId="a3ee4ce2f668b6dd" providerId="LiveId" clId="{1F94FFBC-EF08-4240-9B95-8F2AF5F56F59}" dt="2024-07-24T02:03:24.247" v="684" actId="27636"/>
          <ac:spMkLst>
            <pc:docMk/>
            <pc:sldMk cId="3242636780" sldId="563"/>
            <ac:spMk id="4" creationId="{4CFA46AE-A946-CFE4-69CC-81060B5AC179}"/>
          </ac:spMkLst>
        </pc:spChg>
      </pc:sldChg>
      <pc:sldChg chg="modSp new del mod ord">
        <pc:chgData name="Susan Gatford" userId="a3ee4ce2f668b6dd" providerId="LiveId" clId="{1F94FFBC-EF08-4240-9B95-8F2AF5F56F59}" dt="2024-07-24T01:25:43.529" v="184" actId="47"/>
        <pc:sldMkLst>
          <pc:docMk/>
          <pc:sldMk cId="206449240" sldId="564"/>
        </pc:sldMkLst>
        <pc:spChg chg="mod">
          <ac:chgData name="Susan Gatford" userId="a3ee4ce2f668b6dd" providerId="LiveId" clId="{1F94FFBC-EF08-4240-9B95-8F2AF5F56F59}" dt="2024-07-24T01:24:10.272" v="112" actId="113"/>
          <ac:spMkLst>
            <pc:docMk/>
            <pc:sldMk cId="206449240" sldId="564"/>
            <ac:spMk id="2" creationId="{73A1E557-8354-FD7D-2368-B4AC51B38B7B}"/>
          </ac:spMkLst>
        </pc:spChg>
        <pc:spChg chg="mod">
          <ac:chgData name="Susan Gatford" userId="a3ee4ce2f668b6dd" providerId="LiveId" clId="{1F94FFBC-EF08-4240-9B95-8F2AF5F56F59}" dt="2024-07-24T01:23:07.749" v="17" actId="20577"/>
          <ac:spMkLst>
            <pc:docMk/>
            <pc:sldMk cId="206449240" sldId="564"/>
            <ac:spMk id="3" creationId="{29E5F34A-2BD6-27A2-C878-282273BC7915}"/>
          </ac:spMkLst>
        </pc:spChg>
      </pc:sldChg>
      <pc:sldChg chg="add ord">
        <pc:chgData name="Susan Gatford" userId="a3ee4ce2f668b6dd" providerId="LiveId" clId="{1F94FFBC-EF08-4240-9B95-8F2AF5F56F59}" dt="2024-07-24T01:37:53.466" v="649"/>
        <pc:sldMkLst>
          <pc:docMk/>
          <pc:sldMk cId="2784339819" sldId="565"/>
        </pc:sldMkLst>
      </pc:sldChg>
      <pc:sldChg chg="new add del">
        <pc:chgData name="Susan Gatford" userId="a3ee4ce2f668b6dd" providerId="LiveId" clId="{1F94FFBC-EF08-4240-9B95-8F2AF5F56F59}" dt="2024-07-24T01:29:41.278" v="341" actId="680"/>
        <pc:sldMkLst>
          <pc:docMk/>
          <pc:sldMk cId="2287378287" sldId="566"/>
        </pc:sldMkLst>
      </pc:sldChg>
      <pc:sldChg chg="addSp delSp modSp new del mod">
        <pc:chgData name="Susan Gatford" userId="a3ee4ce2f668b6dd" providerId="LiveId" clId="{1F94FFBC-EF08-4240-9B95-8F2AF5F56F59}" dt="2024-07-24T01:37:55.939" v="650" actId="47"/>
        <pc:sldMkLst>
          <pc:docMk/>
          <pc:sldMk cId="3973346724" sldId="566"/>
        </pc:sldMkLst>
        <pc:spChg chg="del">
          <ac:chgData name="Susan Gatford" userId="a3ee4ce2f668b6dd" providerId="LiveId" clId="{1F94FFBC-EF08-4240-9B95-8F2AF5F56F59}" dt="2024-07-24T01:30:58.810" v="352"/>
          <ac:spMkLst>
            <pc:docMk/>
            <pc:sldMk cId="3973346724" sldId="566"/>
            <ac:spMk id="3" creationId="{AFE315A4-EDDC-4CFE-D5B1-A5DF31BC4AAC}"/>
          </ac:spMkLst>
        </pc:spChg>
        <pc:picChg chg="add mod">
          <ac:chgData name="Susan Gatford" userId="a3ee4ce2f668b6dd" providerId="LiveId" clId="{1F94FFBC-EF08-4240-9B95-8F2AF5F56F59}" dt="2024-07-24T01:32:53.963" v="370" actId="14100"/>
          <ac:picMkLst>
            <pc:docMk/>
            <pc:sldMk cId="3973346724" sldId="566"/>
            <ac:picMk id="5" creationId="{CD15B972-A1E3-2BD4-FC9B-15BE40817C7F}"/>
          </ac:picMkLst>
        </pc:picChg>
        <pc:picChg chg="add mod">
          <ac:chgData name="Susan Gatford" userId="a3ee4ce2f668b6dd" providerId="LiveId" clId="{1F94FFBC-EF08-4240-9B95-8F2AF5F56F59}" dt="2024-07-24T01:31:42.879" v="361" actId="14100"/>
          <ac:picMkLst>
            <pc:docMk/>
            <pc:sldMk cId="3973346724" sldId="566"/>
            <ac:picMk id="6" creationId="{064E04FB-9069-37AF-313A-5F7A64033F19}"/>
          </ac:picMkLst>
        </pc:picChg>
        <pc:picChg chg="add">
          <ac:chgData name="Susan Gatford" userId="a3ee4ce2f668b6dd" providerId="LiveId" clId="{1F94FFBC-EF08-4240-9B95-8F2AF5F56F59}" dt="2024-07-24T01:32:16.039" v="362"/>
          <ac:picMkLst>
            <pc:docMk/>
            <pc:sldMk cId="3973346724" sldId="566"/>
            <ac:picMk id="7" creationId="{E37600E7-B625-5F72-0885-23D92E1EEA29}"/>
          </ac:picMkLst>
        </pc:picChg>
        <pc:picChg chg="add">
          <ac:chgData name="Susan Gatford" userId="a3ee4ce2f668b6dd" providerId="LiveId" clId="{1F94FFBC-EF08-4240-9B95-8F2AF5F56F59}" dt="2024-07-24T01:32:25.414" v="363"/>
          <ac:picMkLst>
            <pc:docMk/>
            <pc:sldMk cId="3973346724" sldId="566"/>
            <ac:picMk id="8" creationId="{085BD472-0040-AD88-8F98-4D20C7AA561E}"/>
          </ac:picMkLst>
        </pc:picChg>
        <pc:picChg chg="add del mod">
          <ac:chgData name="Susan Gatford" userId="a3ee4ce2f668b6dd" providerId="LiveId" clId="{1F94FFBC-EF08-4240-9B95-8F2AF5F56F59}" dt="2024-07-24T01:34:06.657" v="406" actId="21"/>
          <ac:picMkLst>
            <pc:docMk/>
            <pc:sldMk cId="3973346724" sldId="566"/>
            <ac:picMk id="9" creationId="{D1E84982-173B-F37D-0FD1-AC63B51178C8}"/>
          </ac:picMkLst>
        </pc:picChg>
      </pc:sldChg>
      <pc:sldChg chg="addSp delSp modSp add mod">
        <pc:chgData name="Susan Gatford" userId="a3ee4ce2f668b6dd" providerId="LiveId" clId="{1F94FFBC-EF08-4240-9B95-8F2AF5F56F59}" dt="2024-07-24T02:01:13.455" v="663" actId="1076"/>
        <pc:sldMkLst>
          <pc:docMk/>
          <pc:sldMk cId="2388635051" sldId="567"/>
        </pc:sldMkLst>
        <pc:spChg chg="mod">
          <ac:chgData name="Susan Gatford" userId="a3ee4ce2f668b6dd" providerId="LiveId" clId="{1F94FFBC-EF08-4240-9B95-8F2AF5F56F59}" dt="2024-07-24T01:33:43.081" v="404" actId="27636"/>
          <ac:spMkLst>
            <pc:docMk/>
            <pc:sldMk cId="2388635051" sldId="567"/>
            <ac:spMk id="2" creationId="{C25919D4-5A65-47F8-B22D-0938642B2CF5}"/>
          </ac:spMkLst>
        </pc:spChg>
        <pc:spChg chg="mod">
          <ac:chgData name="Susan Gatford" userId="a3ee4ce2f668b6dd" providerId="LiveId" clId="{1F94FFBC-EF08-4240-9B95-8F2AF5F56F59}" dt="2024-07-24T01:48:10.092" v="661" actId="313"/>
          <ac:spMkLst>
            <pc:docMk/>
            <pc:sldMk cId="2388635051" sldId="567"/>
            <ac:spMk id="3" creationId="{3D3226DF-9DF7-4FB0-B25B-5BD2895F7ED7}"/>
          </ac:spMkLst>
        </pc:spChg>
        <pc:spChg chg="del mod">
          <ac:chgData name="Susan Gatford" userId="a3ee4ce2f668b6dd" providerId="LiveId" clId="{1F94FFBC-EF08-4240-9B95-8F2AF5F56F59}" dt="2024-07-24T01:38:18.763" v="656"/>
          <ac:spMkLst>
            <pc:docMk/>
            <pc:sldMk cId="2388635051" sldId="567"/>
            <ac:spMk id="5" creationId="{C02E5179-3E4B-38A7-FF0F-C925904DB66B}"/>
          </ac:spMkLst>
        </pc:spChg>
        <pc:spChg chg="del mod">
          <ac:chgData name="Susan Gatford" userId="a3ee4ce2f668b6dd" providerId="LiveId" clId="{1F94FFBC-EF08-4240-9B95-8F2AF5F56F59}" dt="2024-07-24T01:38:18.763" v="654"/>
          <ac:spMkLst>
            <pc:docMk/>
            <pc:sldMk cId="2388635051" sldId="567"/>
            <ac:spMk id="6" creationId="{33102E5B-EABE-44A6-B447-3EC38D0A892D}"/>
          </ac:spMkLst>
        </pc:spChg>
        <pc:picChg chg="add del mod">
          <ac:chgData name="Susan Gatford" userId="a3ee4ce2f668b6dd" providerId="LiveId" clId="{1F94FFBC-EF08-4240-9B95-8F2AF5F56F59}" dt="2024-07-24T02:01:13.455" v="663" actId="1076"/>
          <ac:picMkLst>
            <pc:docMk/>
            <pc:sldMk cId="2388635051" sldId="567"/>
            <ac:picMk id="4" creationId="{FAF4DACB-35BA-4F5B-B7E9-08E03C2AED1E}"/>
          </ac:picMkLst>
        </pc:picChg>
        <pc:picChg chg="add del mod">
          <ac:chgData name="Susan Gatford" userId="a3ee4ce2f668b6dd" providerId="LiveId" clId="{1F94FFBC-EF08-4240-9B95-8F2AF5F56F59}" dt="2024-07-24T01:35:05.427" v="418" actId="21"/>
          <ac:picMkLst>
            <pc:docMk/>
            <pc:sldMk cId="2388635051" sldId="567"/>
            <ac:picMk id="7" creationId="{7795FC41-A1DE-38E3-8792-62037D082876}"/>
          </ac:picMkLst>
        </pc:picChg>
        <pc:picChg chg="add mod">
          <ac:chgData name="Susan Gatford" userId="a3ee4ce2f668b6dd" providerId="LiveId" clId="{1F94FFBC-EF08-4240-9B95-8F2AF5F56F59}" dt="2024-07-24T01:34:53.625" v="414" actId="1076"/>
          <ac:picMkLst>
            <pc:docMk/>
            <pc:sldMk cId="2388635051" sldId="567"/>
            <ac:picMk id="8" creationId="{47319C6D-6D9D-F81C-E91D-F5ECEE46F3A7}"/>
          </ac:picMkLst>
        </pc:picChg>
        <pc:picChg chg="add mod">
          <ac:chgData name="Susan Gatford" userId="a3ee4ce2f668b6dd" providerId="LiveId" clId="{1F94FFBC-EF08-4240-9B95-8F2AF5F56F59}" dt="2024-07-24T01:35:14.370" v="420" actId="1076"/>
          <ac:picMkLst>
            <pc:docMk/>
            <pc:sldMk cId="2388635051" sldId="567"/>
            <ac:picMk id="9" creationId="{18A59920-E7F1-8D4A-D8C8-CA6CB2D294A1}"/>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laure\OneDrive%20-%20Barristers'%20Chambers%20Limited\Bar%20(OneDrive)\Teaching\2024-07-25%20%20CPD%20on%20AI%20and%20lawyers\stanford%20article\Stanford.csv"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AU" sz="1800"/>
              <a:t>Popular</a:t>
            </a:r>
            <a:r>
              <a:rPr lang="en-AU" sz="1800" baseline="0"/>
              <a:t> Legal AI products compared</a:t>
            </a:r>
            <a:endParaRPr lang="en-AU"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tanford!$B$1</c:f>
              <c:strCache>
                <c:ptCount val="1"/>
                <c:pt idx="0">
                  <c:v>Accurat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nford!$A$2:$A$5</c:f>
              <c:strCache>
                <c:ptCount val="4"/>
                <c:pt idx="0">
                  <c:v>Lexis + AI</c:v>
                </c:pt>
                <c:pt idx="1">
                  <c:v>GPT-4</c:v>
                </c:pt>
                <c:pt idx="2">
                  <c:v>Westlaw</c:v>
                </c:pt>
                <c:pt idx="3">
                  <c:v>Pract. Law</c:v>
                </c:pt>
              </c:strCache>
            </c:strRef>
          </c:cat>
          <c:val>
            <c:numRef>
              <c:f>Stanford!$B$2:$B$5</c:f>
              <c:numCache>
                <c:formatCode>General</c:formatCode>
                <c:ptCount val="4"/>
                <c:pt idx="0">
                  <c:v>65</c:v>
                </c:pt>
                <c:pt idx="1">
                  <c:v>49</c:v>
                </c:pt>
                <c:pt idx="2">
                  <c:v>42</c:v>
                </c:pt>
                <c:pt idx="3">
                  <c:v>20</c:v>
                </c:pt>
              </c:numCache>
            </c:numRef>
          </c:val>
          <c:extLst>
            <c:ext xmlns:c16="http://schemas.microsoft.com/office/drawing/2014/chart" uri="{C3380CC4-5D6E-409C-BE32-E72D297353CC}">
              <c16:uniqueId val="{00000000-B9E8-4CC6-8FDA-9CC5DE3A0D33}"/>
            </c:ext>
          </c:extLst>
        </c:ser>
        <c:ser>
          <c:idx val="1"/>
          <c:order val="1"/>
          <c:tx>
            <c:strRef>
              <c:f>Stanford!$C$1</c:f>
              <c:strCache>
                <c:ptCount val="1"/>
                <c:pt idx="0">
                  <c:v>Incomple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nford!$A$2:$A$5</c:f>
              <c:strCache>
                <c:ptCount val="4"/>
                <c:pt idx="0">
                  <c:v>Lexis + AI</c:v>
                </c:pt>
                <c:pt idx="1">
                  <c:v>GPT-4</c:v>
                </c:pt>
                <c:pt idx="2">
                  <c:v>Westlaw</c:v>
                </c:pt>
                <c:pt idx="3">
                  <c:v>Pract. Law</c:v>
                </c:pt>
              </c:strCache>
            </c:strRef>
          </c:cat>
          <c:val>
            <c:numRef>
              <c:f>Stanford!$C$2:$C$5</c:f>
              <c:numCache>
                <c:formatCode>General</c:formatCode>
                <c:ptCount val="4"/>
                <c:pt idx="0">
                  <c:v>18</c:v>
                </c:pt>
                <c:pt idx="1">
                  <c:v>8</c:v>
                </c:pt>
                <c:pt idx="2">
                  <c:v>25</c:v>
                </c:pt>
                <c:pt idx="3">
                  <c:v>63</c:v>
                </c:pt>
              </c:numCache>
            </c:numRef>
          </c:val>
          <c:extLst>
            <c:ext xmlns:c16="http://schemas.microsoft.com/office/drawing/2014/chart" uri="{C3380CC4-5D6E-409C-BE32-E72D297353CC}">
              <c16:uniqueId val="{00000001-B9E8-4CC6-8FDA-9CC5DE3A0D33}"/>
            </c:ext>
          </c:extLst>
        </c:ser>
        <c:ser>
          <c:idx val="2"/>
          <c:order val="2"/>
          <c:tx>
            <c:strRef>
              <c:f>Stanford!$D$1</c:f>
              <c:strCache>
                <c:ptCount val="1"/>
                <c:pt idx="0">
                  <c:v>Hallucination</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nford!$A$2:$A$5</c:f>
              <c:strCache>
                <c:ptCount val="4"/>
                <c:pt idx="0">
                  <c:v>Lexis + AI</c:v>
                </c:pt>
                <c:pt idx="1">
                  <c:v>GPT-4</c:v>
                </c:pt>
                <c:pt idx="2">
                  <c:v>Westlaw</c:v>
                </c:pt>
                <c:pt idx="3">
                  <c:v>Pract. Law</c:v>
                </c:pt>
              </c:strCache>
            </c:strRef>
          </c:cat>
          <c:val>
            <c:numRef>
              <c:f>Stanford!$D$2:$D$5</c:f>
              <c:numCache>
                <c:formatCode>General</c:formatCode>
                <c:ptCount val="4"/>
                <c:pt idx="0">
                  <c:v>17</c:v>
                </c:pt>
                <c:pt idx="1">
                  <c:v>43</c:v>
                </c:pt>
                <c:pt idx="2">
                  <c:v>33</c:v>
                </c:pt>
                <c:pt idx="3">
                  <c:v>17</c:v>
                </c:pt>
              </c:numCache>
            </c:numRef>
          </c:val>
          <c:extLst>
            <c:ext xmlns:c16="http://schemas.microsoft.com/office/drawing/2014/chart" uri="{C3380CC4-5D6E-409C-BE32-E72D297353CC}">
              <c16:uniqueId val="{00000002-B9E8-4CC6-8FDA-9CC5DE3A0D33}"/>
            </c:ext>
          </c:extLst>
        </c:ser>
        <c:dLbls>
          <c:dLblPos val="ctr"/>
          <c:showLegendKey val="0"/>
          <c:showVal val="1"/>
          <c:showCatName val="0"/>
          <c:showSerName val="0"/>
          <c:showPercent val="0"/>
          <c:showBubbleSize val="0"/>
        </c:dLbls>
        <c:gapWidth val="55"/>
        <c:overlap val="100"/>
        <c:axId val="858625056"/>
        <c:axId val="858622656"/>
      </c:barChart>
      <c:catAx>
        <c:axId val="858625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58622656"/>
        <c:crosses val="autoZero"/>
        <c:auto val="1"/>
        <c:lblAlgn val="ctr"/>
        <c:lblOffset val="100"/>
        <c:noMultiLvlLbl val="0"/>
      </c:catAx>
      <c:valAx>
        <c:axId val="85862265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AU" sz="1100" dirty="0"/>
                  <a:t>Proportion of responses</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586250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4" Type="http://schemas.openxmlformats.org/officeDocument/2006/relationships/image" Target="../media/image57.svg"/></Relationships>
</file>

<file path=ppt/diagrams/_rels/data2.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 Id="rId14" Type="http://schemas.openxmlformats.org/officeDocument/2006/relationships/image" Target="../media/image32.svg"/></Relationships>
</file>

<file path=ppt/diagrams/_rels/data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4" Type="http://schemas.openxmlformats.org/officeDocument/2006/relationships/image" Target="../media/image37.svg"/></Relationships>
</file>

<file path=ppt/diagrams/_rels/data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ata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_rels/drawing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4" Type="http://schemas.openxmlformats.org/officeDocument/2006/relationships/image" Target="../media/image5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 Id="rId14" Type="http://schemas.openxmlformats.org/officeDocument/2006/relationships/image" Target="../media/image32.svg"/></Relationships>
</file>

<file path=ppt/diagrams/_rels/drawing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4" Type="http://schemas.openxmlformats.org/officeDocument/2006/relationships/image" Target="../media/image3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rawing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05048F-DE8C-43EF-A145-AC24D43B3A8B}"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17CB8A98-F2D3-4F13-8746-36986344F383}">
      <dgm:prSet/>
      <dgm:spPr/>
      <dgm:t>
        <a:bodyPr/>
        <a:lstStyle/>
        <a:p>
          <a:r>
            <a:rPr lang="en-US" b="0" i="1"/>
            <a:t>Copyright Act </a:t>
          </a:r>
          <a:r>
            <a:rPr lang="en-US" b="0" i="0"/>
            <a:t>1968 (Cth)</a:t>
          </a:r>
        </a:p>
      </dgm:t>
    </dgm:pt>
    <dgm:pt modelId="{51BE5F50-151B-41DF-B16E-6CD450ED7AA2}" type="parTrans" cxnId="{05534FDD-DF98-450B-B2B6-C03B74B088E5}">
      <dgm:prSet/>
      <dgm:spPr/>
      <dgm:t>
        <a:bodyPr/>
        <a:lstStyle/>
        <a:p>
          <a:endParaRPr lang="en-US"/>
        </a:p>
      </dgm:t>
    </dgm:pt>
    <dgm:pt modelId="{BA29A51C-E441-4655-82D6-F8A7FEB67757}" type="sibTrans" cxnId="{05534FDD-DF98-450B-B2B6-C03B74B088E5}">
      <dgm:prSet/>
      <dgm:spPr/>
      <dgm:t>
        <a:bodyPr/>
        <a:lstStyle/>
        <a:p>
          <a:endParaRPr lang="en-US"/>
        </a:p>
      </dgm:t>
    </dgm:pt>
    <dgm:pt modelId="{D1C29902-ED0D-48EE-A3BF-AF31890303AD}">
      <dgm:prSet/>
      <dgm:spPr/>
      <dgm:t>
        <a:bodyPr/>
        <a:lstStyle/>
        <a:p>
          <a:r>
            <a:rPr lang="en-US" b="0" i="0"/>
            <a:t>no regist</a:t>
          </a:r>
          <a:r>
            <a:rPr lang="en-US"/>
            <a:t>ration system</a:t>
          </a:r>
        </a:p>
      </dgm:t>
    </dgm:pt>
    <dgm:pt modelId="{6592A10A-78C2-4B18-8CD6-55866C458182}" type="parTrans" cxnId="{C9E3E13A-9E76-4236-8968-EFCD30F7E02B}">
      <dgm:prSet/>
      <dgm:spPr/>
      <dgm:t>
        <a:bodyPr/>
        <a:lstStyle/>
        <a:p>
          <a:endParaRPr lang="en-US"/>
        </a:p>
      </dgm:t>
    </dgm:pt>
    <dgm:pt modelId="{DC2EF86D-4F23-48EB-9800-5FD64D59F987}" type="sibTrans" cxnId="{C9E3E13A-9E76-4236-8968-EFCD30F7E02B}">
      <dgm:prSet/>
      <dgm:spPr/>
      <dgm:t>
        <a:bodyPr/>
        <a:lstStyle/>
        <a:p>
          <a:endParaRPr lang="en-US"/>
        </a:p>
      </dgm:t>
    </dgm:pt>
    <dgm:pt modelId="{FDFEA73B-AA28-4BCE-9EC0-F168D1104F6A}">
      <dgm:prSet/>
      <dgm:spPr/>
      <dgm:t>
        <a:bodyPr/>
        <a:lstStyle/>
        <a:p>
          <a:r>
            <a:rPr lang="en-US" b="0" i="0"/>
            <a:t>section 32 - copyright exists in works - a literary work, dramatic work, musical work or an artistic work</a:t>
          </a:r>
          <a:endParaRPr lang="en-US"/>
        </a:p>
      </dgm:t>
    </dgm:pt>
    <dgm:pt modelId="{31E5FC69-0DBB-4708-A08B-C1F91A4F5566}" type="parTrans" cxnId="{0E92C61F-E6C6-497A-8368-9452C50FDA4B}">
      <dgm:prSet/>
      <dgm:spPr/>
      <dgm:t>
        <a:bodyPr/>
        <a:lstStyle/>
        <a:p>
          <a:endParaRPr lang="en-US"/>
        </a:p>
      </dgm:t>
    </dgm:pt>
    <dgm:pt modelId="{395CAFD2-B0D5-4033-A7FA-43E2E28B2D8F}" type="sibTrans" cxnId="{0E92C61F-E6C6-497A-8368-9452C50FDA4B}">
      <dgm:prSet/>
      <dgm:spPr/>
      <dgm:t>
        <a:bodyPr/>
        <a:lstStyle/>
        <a:p>
          <a:endParaRPr lang="en-US"/>
        </a:p>
      </dgm:t>
    </dgm:pt>
    <dgm:pt modelId="{CBB68551-39B1-4652-9CDB-6D625E2960A6}">
      <dgm:prSet/>
      <dgm:spPr/>
      <dgm:t>
        <a:bodyPr/>
        <a:lstStyle/>
        <a:p>
          <a:r>
            <a:rPr lang="en-US" dirty="0"/>
            <a:t>there is also a separate copyright in sound recordings, cinematograph films, television broadcasts and sound broadcasts</a:t>
          </a:r>
          <a:r>
            <a:rPr lang="en-US" b="0" i="0" dirty="0"/>
            <a:t> </a:t>
          </a:r>
          <a:endParaRPr lang="en-US" dirty="0"/>
        </a:p>
      </dgm:t>
    </dgm:pt>
    <dgm:pt modelId="{6402DBD7-DE61-4EA8-AA1C-1EFC2956C5F8}" type="parTrans" cxnId="{5F059D1F-2FCC-4E84-9484-5ABD683A6F85}">
      <dgm:prSet/>
      <dgm:spPr/>
      <dgm:t>
        <a:bodyPr/>
        <a:lstStyle/>
        <a:p>
          <a:endParaRPr lang="en-US"/>
        </a:p>
      </dgm:t>
    </dgm:pt>
    <dgm:pt modelId="{E6B44288-6EDD-4234-9BAF-266D5A47CF2B}" type="sibTrans" cxnId="{5F059D1F-2FCC-4E84-9484-5ABD683A6F85}">
      <dgm:prSet/>
      <dgm:spPr/>
      <dgm:t>
        <a:bodyPr/>
        <a:lstStyle/>
        <a:p>
          <a:endParaRPr lang="en-US"/>
        </a:p>
      </dgm:t>
    </dgm:pt>
    <dgm:pt modelId="{BE07335F-AD92-46DB-9350-7937829E6BD9}" type="pres">
      <dgm:prSet presAssocID="{7C05048F-DE8C-43EF-A145-AC24D43B3A8B}" presName="linear" presStyleCnt="0">
        <dgm:presLayoutVars>
          <dgm:animLvl val="lvl"/>
          <dgm:resizeHandles val="exact"/>
        </dgm:presLayoutVars>
      </dgm:prSet>
      <dgm:spPr/>
    </dgm:pt>
    <dgm:pt modelId="{7D0DBB28-BC6B-45EE-8483-63961A40AECD}" type="pres">
      <dgm:prSet presAssocID="{17CB8A98-F2D3-4F13-8746-36986344F383}" presName="parentText" presStyleLbl="node1" presStyleIdx="0" presStyleCnt="4">
        <dgm:presLayoutVars>
          <dgm:chMax val="0"/>
          <dgm:bulletEnabled val="1"/>
        </dgm:presLayoutVars>
      </dgm:prSet>
      <dgm:spPr/>
    </dgm:pt>
    <dgm:pt modelId="{C4F3BF71-DF40-4EE2-80A9-F11332221585}" type="pres">
      <dgm:prSet presAssocID="{BA29A51C-E441-4655-82D6-F8A7FEB67757}" presName="spacer" presStyleCnt="0"/>
      <dgm:spPr/>
    </dgm:pt>
    <dgm:pt modelId="{C61921CE-EB8F-4BF1-B1BF-947F2092219C}" type="pres">
      <dgm:prSet presAssocID="{D1C29902-ED0D-48EE-A3BF-AF31890303AD}" presName="parentText" presStyleLbl="node1" presStyleIdx="1" presStyleCnt="4">
        <dgm:presLayoutVars>
          <dgm:chMax val="0"/>
          <dgm:bulletEnabled val="1"/>
        </dgm:presLayoutVars>
      </dgm:prSet>
      <dgm:spPr/>
    </dgm:pt>
    <dgm:pt modelId="{17D4427F-8E07-47B5-8780-E8B81DE85E21}" type="pres">
      <dgm:prSet presAssocID="{DC2EF86D-4F23-48EB-9800-5FD64D59F987}" presName="spacer" presStyleCnt="0"/>
      <dgm:spPr/>
    </dgm:pt>
    <dgm:pt modelId="{3FB437D0-7810-4ABA-BCDB-32FD653E90B3}" type="pres">
      <dgm:prSet presAssocID="{FDFEA73B-AA28-4BCE-9EC0-F168D1104F6A}" presName="parentText" presStyleLbl="node1" presStyleIdx="2" presStyleCnt="4">
        <dgm:presLayoutVars>
          <dgm:chMax val="0"/>
          <dgm:bulletEnabled val="1"/>
        </dgm:presLayoutVars>
      </dgm:prSet>
      <dgm:spPr/>
    </dgm:pt>
    <dgm:pt modelId="{6AFF5A5D-3DB9-4A72-A71B-920358F13C52}" type="pres">
      <dgm:prSet presAssocID="{395CAFD2-B0D5-4033-A7FA-43E2E28B2D8F}" presName="spacer" presStyleCnt="0"/>
      <dgm:spPr/>
    </dgm:pt>
    <dgm:pt modelId="{5E47B7A9-4708-454A-ACCE-8629391785FF}" type="pres">
      <dgm:prSet presAssocID="{CBB68551-39B1-4652-9CDB-6D625E2960A6}" presName="parentText" presStyleLbl="node1" presStyleIdx="3" presStyleCnt="4">
        <dgm:presLayoutVars>
          <dgm:chMax val="0"/>
          <dgm:bulletEnabled val="1"/>
        </dgm:presLayoutVars>
      </dgm:prSet>
      <dgm:spPr/>
    </dgm:pt>
  </dgm:ptLst>
  <dgm:cxnLst>
    <dgm:cxn modelId="{5F059D1F-2FCC-4E84-9484-5ABD683A6F85}" srcId="{7C05048F-DE8C-43EF-A145-AC24D43B3A8B}" destId="{CBB68551-39B1-4652-9CDB-6D625E2960A6}" srcOrd="3" destOrd="0" parTransId="{6402DBD7-DE61-4EA8-AA1C-1EFC2956C5F8}" sibTransId="{E6B44288-6EDD-4234-9BAF-266D5A47CF2B}"/>
    <dgm:cxn modelId="{0E92C61F-E6C6-497A-8368-9452C50FDA4B}" srcId="{7C05048F-DE8C-43EF-A145-AC24D43B3A8B}" destId="{FDFEA73B-AA28-4BCE-9EC0-F168D1104F6A}" srcOrd="2" destOrd="0" parTransId="{31E5FC69-0DBB-4708-A08B-C1F91A4F5566}" sibTransId="{395CAFD2-B0D5-4033-A7FA-43E2E28B2D8F}"/>
    <dgm:cxn modelId="{C9E3E13A-9E76-4236-8968-EFCD30F7E02B}" srcId="{7C05048F-DE8C-43EF-A145-AC24D43B3A8B}" destId="{D1C29902-ED0D-48EE-A3BF-AF31890303AD}" srcOrd="1" destOrd="0" parTransId="{6592A10A-78C2-4B18-8CD6-55866C458182}" sibTransId="{DC2EF86D-4F23-48EB-9800-5FD64D59F987}"/>
    <dgm:cxn modelId="{89212B6C-1773-4C74-A30B-9B95FB0FC5B6}" type="presOf" srcId="{CBB68551-39B1-4652-9CDB-6D625E2960A6}" destId="{5E47B7A9-4708-454A-ACCE-8629391785FF}" srcOrd="0" destOrd="0" presId="urn:microsoft.com/office/officeart/2005/8/layout/vList2"/>
    <dgm:cxn modelId="{B9527B7C-A9E2-413C-9C00-8DD7D16A5923}" type="presOf" srcId="{17CB8A98-F2D3-4F13-8746-36986344F383}" destId="{7D0DBB28-BC6B-45EE-8483-63961A40AECD}" srcOrd="0" destOrd="0" presId="urn:microsoft.com/office/officeart/2005/8/layout/vList2"/>
    <dgm:cxn modelId="{419B5CB3-2442-441A-A652-AC6FC75D855B}" type="presOf" srcId="{FDFEA73B-AA28-4BCE-9EC0-F168D1104F6A}" destId="{3FB437D0-7810-4ABA-BCDB-32FD653E90B3}" srcOrd="0" destOrd="0" presId="urn:microsoft.com/office/officeart/2005/8/layout/vList2"/>
    <dgm:cxn modelId="{05534FDD-DF98-450B-B2B6-C03B74B088E5}" srcId="{7C05048F-DE8C-43EF-A145-AC24D43B3A8B}" destId="{17CB8A98-F2D3-4F13-8746-36986344F383}" srcOrd="0" destOrd="0" parTransId="{51BE5F50-151B-41DF-B16E-6CD450ED7AA2}" sibTransId="{BA29A51C-E441-4655-82D6-F8A7FEB67757}"/>
    <dgm:cxn modelId="{B9CA12E5-5893-48FF-9A83-C5B7D9E16176}" type="presOf" srcId="{7C05048F-DE8C-43EF-A145-AC24D43B3A8B}" destId="{BE07335F-AD92-46DB-9350-7937829E6BD9}" srcOrd="0" destOrd="0" presId="urn:microsoft.com/office/officeart/2005/8/layout/vList2"/>
    <dgm:cxn modelId="{FF1BD6EE-92F6-4A64-8632-674AC0B8D391}" type="presOf" srcId="{D1C29902-ED0D-48EE-A3BF-AF31890303AD}" destId="{C61921CE-EB8F-4BF1-B1BF-947F2092219C}" srcOrd="0" destOrd="0" presId="urn:microsoft.com/office/officeart/2005/8/layout/vList2"/>
    <dgm:cxn modelId="{99F24065-FA7E-416E-AE52-6BF824917202}" type="presParOf" srcId="{BE07335F-AD92-46DB-9350-7937829E6BD9}" destId="{7D0DBB28-BC6B-45EE-8483-63961A40AECD}" srcOrd="0" destOrd="0" presId="urn:microsoft.com/office/officeart/2005/8/layout/vList2"/>
    <dgm:cxn modelId="{26DE425D-C743-47D5-B2C8-38FF0EFAB983}" type="presParOf" srcId="{BE07335F-AD92-46DB-9350-7937829E6BD9}" destId="{C4F3BF71-DF40-4EE2-80A9-F11332221585}" srcOrd="1" destOrd="0" presId="urn:microsoft.com/office/officeart/2005/8/layout/vList2"/>
    <dgm:cxn modelId="{C3A3137E-8D9C-46E4-9FA1-83E4DEBDA624}" type="presParOf" srcId="{BE07335F-AD92-46DB-9350-7937829E6BD9}" destId="{C61921CE-EB8F-4BF1-B1BF-947F2092219C}" srcOrd="2" destOrd="0" presId="urn:microsoft.com/office/officeart/2005/8/layout/vList2"/>
    <dgm:cxn modelId="{35B7E911-EDE9-4D8B-B50C-C81E05898AC6}" type="presParOf" srcId="{BE07335F-AD92-46DB-9350-7937829E6BD9}" destId="{17D4427F-8E07-47B5-8780-E8B81DE85E21}" srcOrd="3" destOrd="0" presId="urn:microsoft.com/office/officeart/2005/8/layout/vList2"/>
    <dgm:cxn modelId="{35FA744C-55D2-4218-8949-5672BD2D9A09}" type="presParOf" srcId="{BE07335F-AD92-46DB-9350-7937829E6BD9}" destId="{3FB437D0-7810-4ABA-BCDB-32FD653E90B3}" srcOrd="4" destOrd="0" presId="urn:microsoft.com/office/officeart/2005/8/layout/vList2"/>
    <dgm:cxn modelId="{E3BB6F66-8D65-4FA8-9D75-0EB32ABB4B3E}" type="presParOf" srcId="{BE07335F-AD92-46DB-9350-7937829E6BD9}" destId="{6AFF5A5D-3DB9-4A72-A71B-920358F13C52}" srcOrd="5" destOrd="0" presId="urn:microsoft.com/office/officeart/2005/8/layout/vList2"/>
    <dgm:cxn modelId="{D1FB4E57-DA52-4ACD-85B1-CCB67604B3B1}" type="presParOf" srcId="{BE07335F-AD92-46DB-9350-7937829E6BD9}" destId="{5E47B7A9-4708-454A-ACCE-8629391785FF}"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B65B138-8821-41A3-87FF-726BC687942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A6FE8CFE-CEC6-4728-BF5D-2D1251707B18}">
      <dgm:prSet/>
      <dgm:spPr/>
      <dgm:t>
        <a:bodyPr/>
        <a:lstStyle/>
        <a:p>
          <a:pPr>
            <a:lnSpc>
              <a:spcPct val="100000"/>
            </a:lnSpc>
          </a:pPr>
          <a:r>
            <a:rPr lang="en-US" i="1"/>
            <a:t>USA - Thaler  (August 2023) US District Court, Columbia – the Court denied copyright protection of AI-generated output, arguing that human authorship is a fundamental requirement</a:t>
          </a:r>
        </a:p>
      </dgm:t>
    </dgm:pt>
    <dgm:pt modelId="{486DB1CB-96B1-42D2-A066-71023C0EB7E8}" type="parTrans" cxnId="{3BD26C59-8441-4091-B07F-68C34849A15B}">
      <dgm:prSet/>
      <dgm:spPr/>
      <dgm:t>
        <a:bodyPr/>
        <a:lstStyle/>
        <a:p>
          <a:endParaRPr lang="en-US"/>
        </a:p>
      </dgm:t>
    </dgm:pt>
    <dgm:pt modelId="{A0888C2B-9259-4FA7-B173-EBFF9317CD75}" type="sibTrans" cxnId="{3BD26C59-8441-4091-B07F-68C34849A15B}">
      <dgm:prSet/>
      <dgm:spPr/>
      <dgm:t>
        <a:bodyPr/>
        <a:lstStyle/>
        <a:p>
          <a:endParaRPr lang="en-US"/>
        </a:p>
      </dgm:t>
    </dgm:pt>
    <dgm:pt modelId="{562A6547-ADC3-494F-86C6-E94B7374822C}">
      <dgm:prSet/>
      <dgm:spPr/>
      <dgm:t>
        <a:bodyPr/>
        <a:lstStyle/>
        <a:p>
          <a:pPr>
            <a:lnSpc>
              <a:spcPct val="100000"/>
            </a:lnSpc>
          </a:pPr>
          <a:r>
            <a:rPr lang="en-US"/>
            <a:t>CHINA  - </a:t>
          </a:r>
          <a:r>
            <a:rPr lang="en-US" i="1"/>
            <a:t>Li v Liu </a:t>
          </a:r>
          <a:r>
            <a:rPr lang="en-US"/>
            <a:t>(November 2023) Beijing Internet Court – the prompter of the AI model is the author “as long as the AI-generated images can reflect people’s original intellectual investment”</a:t>
          </a:r>
        </a:p>
      </dgm:t>
    </dgm:pt>
    <dgm:pt modelId="{2F7FF4DB-B0B2-44B1-B01F-E10C38A2CD52}" type="parTrans" cxnId="{82EF158E-0EDF-4377-82AE-965916D68286}">
      <dgm:prSet/>
      <dgm:spPr/>
      <dgm:t>
        <a:bodyPr/>
        <a:lstStyle/>
        <a:p>
          <a:endParaRPr lang="en-US"/>
        </a:p>
      </dgm:t>
    </dgm:pt>
    <dgm:pt modelId="{E8F7BC07-3B28-42C7-8B27-634EB2E7B49E}" type="sibTrans" cxnId="{82EF158E-0EDF-4377-82AE-965916D68286}">
      <dgm:prSet/>
      <dgm:spPr/>
      <dgm:t>
        <a:bodyPr/>
        <a:lstStyle/>
        <a:p>
          <a:endParaRPr lang="en-US"/>
        </a:p>
      </dgm:t>
    </dgm:pt>
    <dgm:pt modelId="{16DB2CD3-9337-449F-BD54-F38C0A86DE9B}" type="pres">
      <dgm:prSet presAssocID="{6B65B138-8821-41A3-87FF-726BC6879425}" presName="root" presStyleCnt="0">
        <dgm:presLayoutVars>
          <dgm:dir/>
          <dgm:resizeHandles val="exact"/>
        </dgm:presLayoutVars>
      </dgm:prSet>
      <dgm:spPr/>
    </dgm:pt>
    <dgm:pt modelId="{B31AB824-7F6A-42D0-BF00-3914164194A3}" type="pres">
      <dgm:prSet presAssocID="{A6FE8CFE-CEC6-4728-BF5D-2D1251707B18}" presName="compNode" presStyleCnt="0"/>
      <dgm:spPr/>
    </dgm:pt>
    <dgm:pt modelId="{B5F3ED02-D18F-47C7-8E61-A7FD69B09388}" type="pres">
      <dgm:prSet presAssocID="{A6FE8CFE-CEC6-4728-BF5D-2D1251707B18}" presName="bgRect" presStyleLbl="bgShp" presStyleIdx="0" presStyleCnt="2"/>
      <dgm:spPr/>
    </dgm:pt>
    <dgm:pt modelId="{D82A3172-4C10-4E7F-8362-2DB56C2A037D}" type="pres">
      <dgm:prSet presAssocID="{A6FE8CFE-CEC6-4728-BF5D-2D1251707B18}"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Judge"/>
        </a:ext>
      </dgm:extLst>
    </dgm:pt>
    <dgm:pt modelId="{EE19C2EE-FBCC-4EC8-99DA-7705BE3F3140}" type="pres">
      <dgm:prSet presAssocID="{A6FE8CFE-CEC6-4728-BF5D-2D1251707B18}" presName="spaceRect" presStyleCnt="0"/>
      <dgm:spPr/>
    </dgm:pt>
    <dgm:pt modelId="{A1B7C89D-1815-4ABF-8455-CB7CAC67B273}" type="pres">
      <dgm:prSet presAssocID="{A6FE8CFE-CEC6-4728-BF5D-2D1251707B18}" presName="parTx" presStyleLbl="revTx" presStyleIdx="0" presStyleCnt="2">
        <dgm:presLayoutVars>
          <dgm:chMax val="0"/>
          <dgm:chPref val="0"/>
        </dgm:presLayoutVars>
      </dgm:prSet>
      <dgm:spPr/>
    </dgm:pt>
    <dgm:pt modelId="{D90A2562-0C16-4085-B2D8-A0343576693D}" type="pres">
      <dgm:prSet presAssocID="{A0888C2B-9259-4FA7-B173-EBFF9317CD75}" presName="sibTrans" presStyleCnt="0"/>
      <dgm:spPr/>
    </dgm:pt>
    <dgm:pt modelId="{66E46849-C69D-4011-8F96-E76C609DD041}" type="pres">
      <dgm:prSet presAssocID="{562A6547-ADC3-494F-86C6-E94B7374822C}" presName="compNode" presStyleCnt="0"/>
      <dgm:spPr/>
    </dgm:pt>
    <dgm:pt modelId="{3E9A3006-7074-4584-9CDA-432DE19BAAB3}" type="pres">
      <dgm:prSet presAssocID="{562A6547-ADC3-494F-86C6-E94B7374822C}" presName="bgRect" presStyleLbl="bgShp" presStyleIdx="1" presStyleCnt="2"/>
      <dgm:spPr/>
    </dgm:pt>
    <dgm:pt modelId="{BEB0A9A2-37CD-4101-9445-BA8DE17C7DB3}" type="pres">
      <dgm:prSet presAssocID="{562A6547-ADC3-494F-86C6-E94B7374822C}"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ocessor"/>
        </a:ext>
      </dgm:extLst>
    </dgm:pt>
    <dgm:pt modelId="{A5EAAE47-AA45-4B5E-9A8D-682202389050}" type="pres">
      <dgm:prSet presAssocID="{562A6547-ADC3-494F-86C6-E94B7374822C}" presName="spaceRect" presStyleCnt="0"/>
      <dgm:spPr/>
    </dgm:pt>
    <dgm:pt modelId="{A8C10618-845C-4CA6-8C95-C2396D864C33}" type="pres">
      <dgm:prSet presAssocID="{562A6547-ADC3-494F-86C6-E94B7374822C}" presName="parTx" presStyleLbl="revTx" presStyleIdx="1" presStyleCnt="2">
        <dgm:presLayoutVars>
          <dgm:chMax val="0"/>
          <dgm:chPref val="0"/>
        </dgm:presLayoutVars>
      </dgm:prSet>
      <dgm:spPr/>
    </dgm:pt>
  </dgm:ptLst>
  <dgm:cxnLst>
    <dgm:cxn modelId="{82E7B514-433E-406C-B73E-69ED8F6DA1DA}" type="presOf" srcId="{562A6547-ADC3-494F-86C6-E94B7374822C}" destId="{A8C10618-845C-4CA6-8C95-C2396D864C33}" srcOrd="0" destOrd="0" presId="urn:microsoft.com/office/officeart/2018/2/layout/IconVerticalSolidList"/>
    <dgm:cxn modelId="{3BD26C59-8441-4091-B07F-68C34849A15B}" srcId="{6B65B138-8821-41A3-87FF-726BC6879425}" destId="{A6FE8CFE-CEC6-4728-BF5D-2D1251707B18}" srcOrd="0" destOrd="0" parTransId="{486DB1CB-96B1-42D2-A066-71023C0EB7E8}" sibTransId="{A0888C2B-9259-4FA7-B173-EBFF9317CD75}"/>
    <dgm:cxn modelId="{82EF158E-0EDF-4377-82AE-965916D68286}" srcId="{6B65B138-8821-41A3-87FF-726BC6879425}" destId="{562A6547-ADC3-494F-86C6-E94B7374822C}" srcOrd="1" destOrd="0" parTransId="{2F7FF4DB-B0B2-44B1-B01F-E10C38A2CD52}" sibTransId="{E8F7BC07-3B28-42C7-8B27-634EB2E7B49E}"/>
    <dgm:cxn modelId="{504951A0-BE71-4B20-8CDD-64968E0F1E1E}" type="presOf" srcId="{A6FE8CFE-CEC6-4728-BF5D-2D1251707B18}" destId="{A1B7C89D-1815-4ABF-8455-CB7CAC67B273}" srcOrd="0" destOrd="0" presId="urn:microsoft.com/office/officeart/2018/2/layout/IconVerticalSolidList"/>
    <dgm:cxn modelId="{D892E2ED-EA73-4A8F-9268-6D52B7B56193}" type="presOf" srcId="{6B65B138-8821-41A3-87FF-726BC6879425}" destId="{16DB2CD3-9337-449F-BD54-F38C0A86DE9B}" srcOrd="0" destOrd="0" presId="urn:microsoft.com/office/officeart/2018/2/layout/IconVerticalSolidList"/>
    <dgm:cxn modelId="{B29D93FC-85F4-423B-9AE6-3CCFE1D796FA}" type="presParOf" srcId="{16DB2CD3-9337-449F-BD54-F38C0A86DE9B}" destId="{B31AB824-7F6A-42D0-BF00-3914164194A3}" srcOrd="0" destOrd="0" presId="urn:microsoft.com/office/officeart/2018/2/layout/IconVerticalSolidList"/>
    <dgm:cxn modelId="{897051FA-449A-4DC1-95EE-74CC04213168}" type="presParOf" srcId="{B31AB824-7F6A-42D0-BF00-3914164194A3}" destId="{B5F3ED02-D18F-47C7-8E61-A7FD69B09388}" srcOrd="0" destOrd="0" presId="urn:microsoft.com/office/officeart/2018/2/layout/IconVerticalSolidList"/>
    <dgm:cxn modelId="{F6487B99-1072-4D0D-8E73-DCA58016578A}" type="presParOf" srcId="{B31AB824-7F6A-42D0-BF00-3914164194A3}" destId="{D82A3172-4C10-4E7F-8362-2DB56C2A037D}" srcOrd="1" destOrd="0" presId="urn:microsoft.com/office/officeart/2018/2/layout/IconVerticalSolidList"/>
    <dgm:cxn modelId="{E4EE9A77-54A4-4536-BDC1-7CC1AABAA2D9}" type="presParOf" srcId="{B31AB824-7F6A-42D0-BF00-3914164194A3}" destId="{EE19C2EE-FBCC-4EC8-99DA-7705BE3F3140}" srcOrd="2" destOrd="0" presId="urn:microsoft.com/office/officeart/2018/2/layout/IconVerticalSolidList"/>
    <dgm:cxn modelId="{51465AF4-D884-4C4A-9980-862B702F83BA}" type="presParOf" srcId="{B31AB824-7F6A-42D0-BF00-3914164194A3}" destId="{A1B7C89D-1815-4ABF-8455-CB7CAC67B273}" srcOrd="3" destOrd="0" presId="urn:microsoft.com/office/officeart/2018/2/layout/IconVerticalSolidList"/>
    <dgm:cxn modelId="{7A484BC7-C48A-4E5C-B0E8-A3DE2764AE3C}" type="presParOf" srcId="{16DB2CD3-9337-449F-BD54-F38C0A86DE9B}" destId="{D90A2562-0C16-4085-B2D8-A0343576693D}" srcOrd="1" destOrd="0" presId="urn:microsoft.com/office/officeart/2018/2/layout/IconVerticalSolidList"/>
    <dgm:cxn modelId="{3A5D8829-48A1-452E-BDF3-64BC13F11C1A}" type="presParOf" srcId="{16DB2CD3-9337-449F-BD54-F38C0A86DE9B}" destId="{66E46849-C69D-4011-8F96-E76C609DD041}" srcOrd="2" destOrd="0" presId="urn:microsoft.com/office/officeart/2018/2/layout/IconVerticalSolidList"/>
    <dgm:cxn modelId="{64C86D8B-2618-4105-96D6-E32F1D957856}" type="presParOf" srcId="{66E46849-C69D-4011-8F96-E76C609DD041}" destId="{3E9A3006-7074-4584-9CDA-432DE19BAAB3}" srcOrd="0" destOrd="0" presId="urn:microsoft.com/office/officeart/2018/2/layout/IconVerticalSolidList"/>
    <dgm:cxn modelId="{0636D170-585A-4C32-AB61-EF37DF30F2F0}" type="presParOf" srcId="{66E46849-C69D-4011-8F96-E76C609DD041}" destId="{BEB0A9A2-37CD-4101-9445-BA8DE17C7DB3}" srcOrd="1" destOrd="0" presId="urn:microsoft.com/office/officeart/2018/2/layout/IconVerticalSolidList"/>
    <dgm:cxn modelId="{60E1D67D-8FBA-4268-B780-47B64A0F68FD}" type="presParOf" srcId="{66E46849-C69D-4011-8F96-E76C609DD041}" destId="{A5EAAE47-AA45-4B5E-9A8D-682202389050}" srcOrd="2" destOrd="0" presId="urn:microsoft.com/office/officeart/2018/2/layout/IconVerticalSolidList"/>
    <dgm:cxn modelId="{81A84DB8-C749-4D26-8688-1BB77F930A8F}" type="presParOf" srcId="{66E46849-C69D-4011-8F96-E76C609DD041}" destId="{A8C10618-845C-4CA6-8C95-C2396D864C3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DCF60F-8C68-4FAD-8266-367DB3AF434E}" type="doc">
      <dgm:prSet loTypeId="urn:microsoft.com/office/officeart/2018/2/layout/IconLabelList" loCatId="icon" qsTypeId="urn:microsoft.com/office/officeart/2005/8/quickstyle/simple1" qsCatId="simple" csTypeId="urn:microsoft.com/office/officeart/2018/5/colors/Iconchunking_neutralbg_colorful1" csCatId="colorful" phldr="1"/>
      <dgm:spPr/>
      <dgm:t>
        <a:bodyPr/>
        <a:lstStyle/>
        <a:p>
          <a:endParaRPr lang="en-US"/>
        </a:p>
      </dgm:t>
    </dgm:pt>
    <dgm:pt modelId="{2633535D-D7D6-4D9B-A033-B1A58E865A07}">
      <dgm:prSet/>
      <dgm:spPr/>
      <dgm:t>
        <a:bodyPr/>
        <a:lstStyle/>
        <a:p>
          <a:pPr>
            <a:lnSpc>
              <a:spcPct val="100000"/>
            </a:lnSpc>
          </a:pPr>
          <a:r>
            <a:rPr lang="en-US" b="0" i="0"/>
            <a:t>A </a:t>
          </a:r>
          <a:r>
            <a:rPr lang="en-US" b="1" i="0"/>
            <a:t>literary work</a:t>
          </a:r>
          <a:r>
            <a:rPr lang="en-US" b="0" i="0"/>
            <a:t>, </a:t>
          </a:r>
          <a:r>
            <a:rPr lang="en-US" b="0" i="0" u="sng"/>
            <a:t>includes</a:t>
          </a:r>
          <a:endParaRPr lang="en-US"/>
        </a:p>
      </dgm:t>
    </dgm:pt>
    <dgm:pt modelId="{BC68DDCE-EB72-4671-892E-3CFA0B712C7E}" type="parTrans" cxnId="{7480898B-F5D6-4D81-A415-553882EDEF40}">
      <dgm:prSet/>
      <dgm:spPr/>
      <dgm:t>
        <a:bodyPr/>
        <a:lstStyle/>
        <a:p>
          <a:endParaRPr lang="en-US"/>
        </a:p>
      </dgm:t>
    </dgm:pt>
    <dgm:pt modelId="{802EA10E-4266-4607-B4B3-70470E2DD279}" type="sibTrans" cxnId="{7480898B-F5D6-4D81-A415-553882EDEF40}">
      <dgm:prSet/>
      <dgm:spPr/>
      <dgm:t>
        <a:bodyPr/>
        <a:lstStyle/>
        <a:p>
          <a:pPr>
            <a:lnSpc>
              <a:spcPct val="100000"/>
            </a:lnSpc>
          </a:pPr>
          <a:endParaRPr lang="en-US"/>
        </a:p>
      </dgm:t>
    </dgm:pt>
    <dgm:pt modelId="{C7D0485B-0F57-40D6-81C2-FA562C32ED5D}">
      <dgm:prSet/>
      <dgm:spPr/>
      <dgm:t>
        <a:bodyPr/>
        <a:lstStyle/>
        <a:p>
          <a:pPr>
            <a:lnSpc>
              <a:spcPct val="100000"/>
            </a:lnSpc>
          </a:pPr>
          <a:r>
            <a:rPr lang="en-US" b="0" i="0"/>
            <a:t>(a) a table, or compilation, expressed in words, figures or symbols, and</a:t>
          </a:r>
          <a:endParaRPr lang="en-US"/>
        </a:p>
      </dgm:t>
    </dgm:pt>
    <dgm:pt modelId="{2B80696F-AE73-4148-B74E-1C2EC89EF932}" type="parTrans" cxnId="{C657F108-F7A7-4480-99C6-30E13F84C366}">
      <dgm:prSet/>
      <dgm:spPr/>
      <dgm:t>
        <a:bodyPr/>
        <a:lstStyle/>
        <a:p>
          <a:endParaRPr lang="en-US"/>
        </a:p>
      </dgm:t>
    </dgm:pt>
    <dgm:pt modelId="{0712EE3C-E8B6-4FA5-8626-5E4B08C86111}" type="sibTrans" cxnId="{C657F108-F7A7-4480-99C6-30E13F84C366}">
      <dgm:prSet/>
      <dgm:spPr/>
      <dgm:t>
        <a:bodyPr/>
        <a:lstStyle/>
        <a:p>
          <a:pPr>
            <a:lnSpc>
              <a:spcPct val="100000"/>
            </a:lnSpc>
          </a:pPr>
          <a:endParaRPr lang="en-US"/>
        </a:p>
      </dgm:t>
    </dgm:pt>
    <dgm:pt modelId="{1AA15E42-7924-4929-B2A9-0D50AA769661}">
      <dgm:prSet/>
      <dgm:spPr/>
      <dgm:t>
        <a:bodyPr/>
        <a:lstStyle/>
        <a:p>
          <a:pPr>
            <a:lnSpc>
              <a:spcPct val="100000"/>
            </a:lnSpc>
          </a:pPr>
          <a:r>
            <a:rPr lang="en-US" b="0" i="0"/>
            <a:t>(b) a computer program or compilation of computer programs</a:t>
          </a:r>
          <a:endParaRPr lang="en-US"/>
        </a:p>
      </dgm:t>
    </dgm:pt>
    <dgm:pt modelId="{785F95EC-5763-4C9D-A92E-E25E5D1BD0B7}" type="parTrans" cxnId="{EB239F4B-641A-4D56-9F06-878AC6C1F4D7}">
      <dgm:prSet/>
      <dgm:spPr/>
      <dgm:t>
        <a:bodyPr/>
        <a:lstStyle/>
        <a:p>
          <a:endParaRPr lang="en-US"/>
        </a:p>
      </dgm:t>
    </dgm:pt>
    <dgm:pt modelId="{5CA4F132-8358-4C07-906B-6B15EFC7D7FD}" type="sibTrans" cxnId="{EB239F4B-641A-4D56-9F06-878AC6C1F4D7}">
      <dgm:prSet/>
      <dgm:spPr/>
      <dgm:t>
        <a:bodyPr/>
        <a:lstStyle/>
        <a:p>
          <a:pPr>
            <a:lnSpc>
              <a:spcPct val="100000"/>
            </a:lnSpc>
          </a:pPr>
          <a:endParaRPr lang="en-US"/>
        </a:p>
      </dgm:t>
    </dgm:pt>
    <dgm:pt modelId="{2AB14303-AE53-4D5D-A1CA-02A901B965EB}">
      <dgm:prSet/>
      <dgm:spPr/>
      <dgm:t>
        <a:bodyPr/>
        <a:lstStyle/>
        <a:p>
          <a:pPr>
            <a:lnSpc>
              <a:spcPct val="100000"/>
            </a:lnSpc>
          </a:pPr>
          <a:r>
            <a:rPr lang="en-US"/>
            <a:t>An </a:t>
          </a:r>
          <a:r>
            <a:rPr lang="en-US" b="1"/>
            <a:t>artistic work </a:t>
          </a:r>
          <a:r>
            <a:rPr lang="en-US" u="sng"/>
            <a:t>means</a:t>
          </a:r>
          <a:endParaRPr lang="en-US"/>
        </a:p>
      </dgm:t>
    </dgm:pt>
    <dgm:pt modelId="{EFA62311-5C44-49A6-A906-08B8D26AB66D}" type="parTrans" cxnId="{FCB567CE-312F-40EA-83D7-9CA137FFEDB8}">
      <dgm:prSet/>
      <dgm:spPr/>
      <dgm:t>
        <a:bodyPr/>
        <a:lstStyle/>
        <a:p>
          <a:endParaRPr lang="en-US"/>
        </a:p>
      </dgm:t>
    </dgm:pt>
    <dgm:pt modelId="{3CA394E9-0947-47A7-86E0-755D15A9945A}" type="sibTrans" cxnId="{FCB567CE-312F-40EA-83D7-9CA137FFEDB8}">
      <dgm:prSet/>
      <dgm:spPr/>
      <dgm:t>
        <a:bodyPr/>
        <a:lstStyle/>
        <a:p>
          <a:pPr>
            <a:lnSpc>
              <a:spcPct val="100000"/>
            </a:lnSpc>
          </a:pPr>
          <a:endParaRPr lang="en-US"/>
        </a:p>
      </dgm:t>
    </dgm:pt>
    <dgm:pt modelId="{7BD8D939-3BD9-4F7C-ADAF-7EB7454536C9}">
      <dgm:prSet/>
      <dgm:spPr/>
      <dgm:t>
        <a:bodyPr/>
        <a:lstStyle/>
        <a:p>
          <a:pPr>
            <a:lnSpc>
              <a:spcPct val="100000"/>
            </a:lnSpc>
          </a:pPr>
          <a:r>
            <a:rPr lang="en-US"/>
            <a:t>(a) a painting, sculpture, drawing, engraving or photograph, whether the work is of artistic quality or not;</a:t>
          </a:r>
        </a:p>
      </dgm:t>
    </dgm:pt>
    <dgm:pt modelId="{AA00CC25-81C2-4DA8-AF34-A28629A2D904}" type="parTrans" cxnId="{7D03FF65-C5BC-451F-A059-C391BF303B70}">
      <dgm:prSet/>
      <dgm:spPr/>
      <dgm:t>
        <a:bodyPr/>
        <a:lstStyle/>
        <a:p>
          <a:endParaRPr lang="en-US"/>
        </a:p>
      </dgm:t>
    </dgm:pt>
    <dgm:pt modelId="{5F651D33-3C11-447A-8BC4-1126A4B8F8D6}" type="sibTrans" cxnId="{7D03FF65-C5BC-451F-A059-C391BF303B70}">
      <dgm:prSet/>
      <dgm:spPr/>
      <dgm:t>
        <a:bodyPr/>
        <a:lstStyle/>
        <a:p>
          <a:pPr>
            <a:lnSpc>
              <a:spcPct val="100000"/>
            </a:lnSpc>
          </a:pPr>
          <a:endParaRPr lang="en-US"/>
        </a:p>
      </dgm:t>
    </dgm:pt>
    <dgm:pt modelId="{4FEA5853-112A-4F32-B74C-36776A4CB4DA}">
      <dgm:prSet/>
      <dgm:spPr/>
      <dgm:t>
        <a:bodyPr/>
        <a:lstStyle/>
        <a:p>
          <a:pPr>
            <a:lnSpc>
              <a:spcPct val="100000"/>
            </a:lnSpc>
          </a:pPr>
          <a:r>
            <a:rPr lang="en-US"/>
            <a:t>(b) a building or a model of a building, whether the building or model is of artistic quality or not; or</a:t>
          </a:r>
        </a:p>
      </dgm:t>
    </dgm:pt>
    <dgm:pt modelId="{98485CE5-8F43-46DA-A4FF-42C5FEE933B0}" type="parTrans" cxnId="{1EE3B2E0-737F-4073-B410-57B65682030E}">
      <dgm:prSet/>
      <dgm:spPr/>
      <dgm:t>
        <a:bodyPr/>
        <a:lstStyle/>
        <a:p>
          <a:endParaRPr lang="en-US"/>
        </a:p>
      </dgm:t>
    </dgm:pt>
    <dgm:pt modelId="{5A8A0B01-291B-4C1E-8BC1-2227014FCD18}" type="sibTrans" cxnId="{1EE3B2E0-737F-4073-B410-57B65682030E}">
      <dgm:prSet/>
      <dgm:spPr/>
      <dgm:t>
        <a:bodyPr/>
        <a:lstStyle/>
        <a:p>
          <a:pPr>
            <a:lnSpc>
              <a:spcPct val="100000"/>
            </a:lnSpc>
          </a:pPr>
          <a:endParaRPr lang="en-US"/>
        </a:p>
      </dgm:t>
    </dgm:pt>
    <dgm:pt modelId="{13C4C74A-0009-43D5-8E69-B9D8DB2645D6}">
      <dgm:prSet/>
      <dgm:spPr/>
      <dgm:t>
        <a:bodyPr/>
        <a:lstStyle/>
        <a:p>
          <a:pPr>
            <a:lnSpc>
              <a:spcPct val="100000"/>
            </a:lnSpc>
          </a:pPr>
          <a:r>
            <a:rPr lang="en-US"/>
            <a:t>(c) a work of artistic craftsmanship whether or not mentioned in paragraph (a) or (b)</a:t>
          </a:r>
        </a:p>
      </dgm:t>
    </dgm:pt>
    <dgm:pt modelId="{3B1B5065-75BF-4F83-81D3-18F95997B7DA}" type="parTrans" cxnId="{3B30AD5D-E9A5-4D63-A531-D48CD4904CB6}">
      <dgm:prSet/>
      <dgm:spPr/>
      <dgm:t>
        <a:bodyPr/>
        <a:lstStyle/>
        <a:p>
          <a:endParaRPr lang="en-US"/>
        </a:p>
      </dgm:t>
    </dgm:pt>
    <dgm:pt modelId="{97D03D91-1FC0-47D9-9548-392DADC50FF2}" type="sibTrans" cxnId="{3B30AD5D-E9A5-4D63-A531-D48CD4904CB6}">
      <dgm:prSet/>
      <dgm:spPr/>
      <dgm:t>
        <a:bodyPr/>
        <a:lstStyle/>
        <a:p>
          <a:endParaRPr lang="en-US"/>
        </a:p>
      </dgm:t>
    </dgm:pt>
    <dgm:pt modelId="{FA6FF025-FC11-4C86-B95F-2145EFD09993}" type="pres">
      <dgm:prSet presAssocID="{22DCF60F-8C68-4FAD-8266-367DB3AF434E}" presName="root" presStyleCnt="0">
        <dgm:presLayoutVars>
          <dgm:dir/>
          <dgm:resizeHandles val="exact"/>
        </dgm:presLayoutVars>
      </dgm:prSet>
      <dgm:spPr/>
    </dgm:pt>
    <dgm:pt modelId="{B188C3B9-B8D8-4D70-B53B-BA123A7E29B3}" type="pres">
      <dgm:prSet presAssocID="{2633535D-D7D6-4D9B-A033-B1A58E865A07}" presName="compNode" presStyleCnt="0"/>
      <dgm:spPr/>
    </dgm:pt>
    <dgm:pt modelId="{EF42AFE0-60BC-47ED-A85A-4344A3CF8A9D}" type="pres">
      <dgm:prSet presAssocID="{2633535D-D7D6-4D9B-A033-B1A58E865A07}"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ooks"/>
        </a:ext>
      </dgm:extLst>
    </dgm:pt>
    <dgm:pt modelId="{51F3A2C5-EF65-4362-A437-DBA450EC6CFE}" type="pres">
      <dgm:prSet presAssocID="{2633535D-D7D6-4D9B-A033-B1A58E865A07}" presName="spaceRect" presStyleCnt="0"/>
      <dgm:spPr/>
    </dgm:pt>
    <dgm:pt modelId="{2AA24F40-8F2A-4200-94B0-B41E73A3EC9A}" type="pres">
      <dgm:prSet presAssocID="{2633535D-D7D6-4D9B-A033-B1A58E865A07}" presName="textRect" presStyleLbl="revTx" presStyleIdx="0" presStyleCnt="7">
        <dgm:presLayoutVars>
          <dgm:chMax val="1"/>
          <dgm:chPref val="1"/>
        </dgm:presLayoutVars>
      </dgm:prSet>
      <dgm:spPr/>
    </dgm:pt>
    <dgm:pt modelId="{476D9089-2A88-433A-96ED-209E5216962E}" type="pres">
      <dgm:prSet presAssocID="{802EA10E-4266-4607-B4B3-70470E2DD279}" presName="sibTrans" presStyleCnt="0"/>
      <dgm:spPr/>
    </dgm:pt>
    <dgm:pt modelId="{E3782744-3E16-4EFE-B5C2-2D66888670A8}" type="pres">
      <dgm:prSet presAssocID="{C7D0485B-0F57-40D6-81C2-FA562C32ED5D}" presName="compNode" presStyleCnt="0"/>
      <dgm:spPr/>
    </dgm:pt>
    <dgm:pt modelId="{4E9AEC8C-19C3-455D-9823-B7AB76C84CB6}" type="pres">
      <dgm:prSet presAssocID="{C7D0485B-0F57-40D6-81C2-FA562C32ED5D}"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Table"/>
        </a:ext>
      </dgm:extLst>
    </dgm:pt>
    <dgm:pt modelId="{3DBDCF3C-43D4-40C4-A8B7-BF2CAE73D852}" type="pres">
      <dgm:prSet presAssocID="{C7D0485B-0F57-40D6-81C2-FA562C32ED5D}" presName="spaceRect" presStyleCnt="0"/>
      <dgm:spPr/>
    </dgm:pt>
    <dgm:pt modelId="{DF3689F0-8735-47AE-9750-6EFAB191C0D5}" type="pres">
      <dgm:prSet presAssocID="{C7D0485B-0F57-40D6-81C2-FA562C32ED5D}" presName="textRect" presStyleLbl="revTx" presStyleIdx="1" presStyleCnt="7">
        <dgm:presLayoutVars>
          <dgm:chMax val="1"/>
          <dgm:chPref val="1"/>
        </dgm:presLayoutVars>
      </dgm:prSet>
      <dgm:spPr/>
    </dgm:pt>
    <dgm:pt modelId="{67DBB22A-C8E2-4A23-99FD-9926B92CD686}" type="pres">
      <dgm:prSet presAssocID="{0712EE3C-E8B6-4FA5-8626-5E4B08C86111}" presName="sibTrans" presStyleCnt="0"/>
      <dgm:spPr/>
    </dgm:pt>
    <dgm:pt modelId="{527C9C0B-3A4A-4A47-B463-55B2BF55FFDC}" type="pres">
      <dgm:prSet presAssocID="{1AA15E42-7924-4929-B2A9-0D50AA769661}" presName="compNode" presStyleCnt="0"/>
      <dgm:spPr/>
    </dgm:pt>
    <dgm:pt modelId="{C6B75055-E174-4C7E-82BA-5A26E26FE17E}" type="pres">
      <dgm:prSet presAssocID="{1AA15E42-7924-4929-B2A9-0D50AA769661}"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omputer"/>
        </a:ext>
      </dgm:extLst>
    </dgm:pt>
    <dgm:pt modelId="{8B741ED2-A24D-4FDC-BDAA-FFF33D1B0E48}" type="pres">
      <dgm:prSet presAssocID="{1AA15E42-7924-4929-B2A9-0D50AA769661}" presName="spaceRect" presStyleCnt="0"/>
      <dgm:spPr/>
    </dgm:pt>
    <dgm:pt modelId="{E3D6AC22-A662-45CD-A088-E5E1BA5A9C68}" type="pres">
      <dgm:prSet presAssocID="{1AA15E42-7924-4929-B2A9-0D50AA769661}" presName="textRect" presStyleLbl="revTx" presStyleIdx="2" presStyleCnt="7">
        <dgm:presLayoutVars>
          <dgm:chMax val="1"/>
          <dgm:chPref val="1"/>
        </dgm:presLayoutVars>
      </dgm:prSet>
      <dgm:spPr/>
    </dgm:pt>
    <dgm:pt modelId="{38A4D0C3-99E7-4A3E-948D-7D948A97E686}" type="pres">
      <dgm:prSet presAssocID="{5CA4F132-8358-4C07-906B-6B15EFC7D7FD}" presName="sibTrans" presStyleCnt="0"/>
      <dgm:spPr/>
    </dgm:pt>
    <dgm:pt modelId="{841EDC87-D43B-4A14-A363-470917FB15CC}" type="pres">
      <dgm:prSet presAssocID="{2AB14303-AE53-4D5D-A1CA-02A901B965EB}" presName="compNode" presStyleCnt="0"/>
      <dgm:spPr/>
    </dgm:pt>
    <dgm:pt modelId="{D16F3955-3818-430A-9139-A1611BB68D42}" type="pres">
      <dgm:prSet presAssocID="{2AB14303-AE53-4D5D-A1CA-02A901B965EB}"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lette"/>
        </a:ext>
      </dgm:extLst>
    </dgm:pt>
    <dgm:pt modelId="{2B1AD20C-67C1-469F-BE64-6CFA0FF1E2CE}" type="pres">
      <dgm:prSet presAssocID="{2AB14303-AE53-4D5D-A1CA-02A901B965EB}" presName="spaceRect" presStyleCnt="0"/>
      <dgm:spPr/>
    </dgm:pt>
    <dgm:pt modelId="{E18E0AA4-5AE9-4858-A894-84E1B58A64E3}" type="pres">
      <dgm:prSet presAssocID="{2AB14303-AE53-4D5D-A1CA-02A901B965EB}" presName="textRect" presStyleLbl="revTx" presStyleIdx="3" presStyleCnt="7">
        <dgm:presLayoutVars>
          <dgm:chMax val="1"/>
          <dgm:chPref val="1"/>
        </dgm:presLayoutVars>
      </dgm:prSet>
      <dgm:spPr/>
    </dgm:pt>
    <dgm:pt modelId="{E636425F-7423-4A61-9F49-ACDF3F065A6A}" type="pres">
      <dgm:prSet presAssocID="{3CA394E9-0947-47A7-86E0-755D15A9945A}" presName="sibTrans" presStyleCnt="0"/>
      <dgm:spPr/>
    </dgm:pt>
    <dgm:pt modelId="{14E38FC9-53E9-4381-9E2F-13FB34003C40}" type="pres">
      <dgm:prSet presAssocID="{7BD8D939-3BD9-4F7C-ADAF-7EB7454536C9}" presName="compNode" presStyleCnt="0"/>
      <dgm:spPr/>
    </dgm:pt>
    <dgm:pt modelId="{73EDA74C-A7F8-41EA-8122-1A02F54BF10D}" type="pres">
      <dgm:prSet presAssocID="{7BD8D939-3BD9-4F7C-ADAF-7EB7454536C9}"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Artist"/>
        </a:ext>
      </dgm:extLst>
    </dgm:pt>
    <dgm:pt modelId="{7205F391-69B7-4F2C-B1BB-53BD9F28657D}" type="pres">
      <dgm:prSet presAssocID="{7BD8D939-3BD9-4F7C-ADAF-7EB7454536C9}" presName="spaceRect" presStyleCnt="0"/>
      <dgm:spPr/>
    </dgm:pt>
    <dgm:pt modelId="{52E879A6-7593-4805-803F-812962F16866}" type="pres">
      <dgm:prSet presAssocID="{7BD8D939-3BD9-4F7C-ADAF-7EB7454536C9}" presName="textRect" presStyleLbl="revTx" presStyleIdx="4" presStyleCnt="7">
        <dgm:presLayoutVars>
          <dgm:chMax val="1"/>
          <dgm:chPref val="1"/>
        </dgm:presLayoutVars>
      </dgm:prSet>
      <dgm:spPr/>
    </dgm:pt>
    <dgm:pt modelId="{DC7C4936-DC7D-4A29-9E47-302D949175CB}" type="pres">
      <dgm:prSet presAssocID="{5F651D33-3C11-447A-8BC4-1126A4B8F8D6}" presName="sibTrans" presStyleCnt="0"/>
      <dgm:spPr/>
    </dgm:pt>
    <dgm:pt modelId="{4ED6F3AF-7EC1-46D0-963C-EA833AABE142}" type="pres">
      <dgm:prSet presAssocID="{4FEA5853-112A-4F32-B74C-36776A4CB4DA}" presName="compNode" presStyleCnt="0"/>
      <dgm:spPr/>
    </dgm:pt>
    <dgm:pt modelId="{69C20DE1-D51E-4B6C-9206-6E52A0CDE40B}" type="pres">
      <dgm:prSet presAssocID="{4FEA5853-112A-4F32-B74C-36776A4CB4DA}"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Easel"/>
        </a:ext>
      </dgm:extLst>
    </dgm:pt>
    <dgm:pt modelId="{75F197F2-2246-40AA-8650-8D366746FE9E}" type="pres">
      <dgm:prSet presAssocID="{4FEA5853-112A-4F32-B74C-36776A4CB4DA}" presName="spaceRect" presStyleCnt="0"/>
      <dgm:spPr/>
    </dgm:pt>
    <dgm:pt modelId="{3C79EC61-FC21-4922-8164-3CA49AB60B0F}" type="pres">
      <dgm:prSet presAssocID="{4FEA5853-112A-4F32-B74C-36776A4CB4DA}" presName="textRect" presStyleLbl="revTx" presStyleIdx="5" presStyleCnt="7">
        <dgm:presLayoutVars>
          <dgm:chMax val="1"/>
          <dgm:chPref val="1"/>
        </dgm:presLayoutVars>
      </dgm:prSet>
      <dgm:spPr/>
    </dgm:pt>
    <dgm:pt modelId="{2E46ED8B-A944-46F9-951D-9CBE354F9A32}" type="pres">
      <dgm:prSet presAssocID="{5A8A0B01-291B-4C1E-8BC1-2227014FCD18}" presName="sibTrans" presStyleCnt="0"/>
      <dgm:spPr/>
    </dgm:pt>
    <dgm:pt modelId="{C11381F3-9864-4360-940F-2ECE118272EC}" type="pres">
      <dgm:prSet presAssocID="{13C4C74A-0009-43D5-8E69-B9D8DB2645D6}" presName="compNode" presStyleCnt="0"/>
      <dgm:spPr/>
    </dgm:pt>
    <dgm:pt modelId="{F7A2EEB5-076D-4357-953B-A010D4BE6B39}" type="pres">
      <dgm:prSet presAssocID="{13C4C74A-0009-43D5-8E69-B9D8DB2645D6}"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Paint"/>
        </a:ext>
      </dgm:extLst>
    </dgm:pt>
    <dgm:pt modelId="{4350B964-B319-4344-9E80-F46A02385533}" type="pres">
      <dgm:prSet presAssocID="{13C4C74A-0009-43D5-8E69-B9D8DB2645D6}" presName="spaceRect" presStyleCnt="0"/>
      <dgm:spPr/>
    </dgm:pt>
    <dgm:pt modelId="{6D042A56-1FA0-45D2-8E3B-0D0E5D172669}" type="pres">
      <dgm:prSet presAssocID="{13C4C74A-0009-43D5-8E69-B9D8DB2645D6}" presName="textRect" presStyleLbl="revTx" presStyleIdx="6" presStyleCnt="7">
        <dgm:presLayoutVars>
          <dgm:chMax val="1"/>
          <dgm:chPref val="1"/>
        </dgm:presLayoutVars>
      </dgm:prSet>
      <dgm:spPr/>
    </dgm:pt>
  </dgm:ptLst>
  <dgm:cxnLst>
    <dgm:cxn modelId="{C657F108-F7A7-4480-99C6-30E13F84C366}" srcId="{22DCF60F-8C68-4FAD-8266-367DB3AF434E}" destId="{C7D0485B-0F57-40D6-81C2-FA562C32ED5D}" srcOrd="1" destOrd="0" parTransId="{2B80696F-AE73-4148-B74E-1C2EC89EF932}" sibTransId="{0712EE3C-E8B6-4FA5-8626-5E4B08C86111}"/>
    <dgm:cxn modelId="{2D7F7309-6218-4BF1-83DA-44008530C134}" type="presOf" srcId="{C7D0485B-0F57-40D6-81C2-FA562C32ED5D}" destId="{DF3689F0-8735-47AE-9750-6EFAB191C0D5}" srcOrd="0" destOrd="0" presId="urn:microsoft.com/office/officeart/2018/2/layout/IconLabelList"/>
    <dgm:cxn modelId="{D959DA0A-BAE7-46A7-90F9-351B80B958D8}" type="presOf" srcId="{13C4C74A-0009-43D5-8E69-B9D8DB2645D6}" destId="{6D042A56-1FA0-45D2-8E3B-0D0E5D172669}" srcOrd="0" destOrd="0" presId="urn:microsoft.com/office/officeart/2018/2/layout/IconLabelList"/>
    <dgm:cxn modelId="{7EC70F1D-9C4E-4589-B096-4B37E8BA7B1F}" type="presOf" srcId="{4FEA5853-112A-4F32-B74C-36776A4CB4DA}" destId="{3C79EC61-FC21-4922-8164-3CA49AB60B0F}" srcOrd="0" destOrd="0" presId="urn:microsoft.com/office/officeart/2018/2/layout/IconLabelList"/>
    <dgm:cxn modelId="{3B30AD5D-E9A5-4D63-A531-D48CD4904CB6}" srcId="{22DCF60F-8C68-4FAD-8266-367DB3AF434E}" destId="{13C4C74A-0009-43D5-8E69-B9D8DB2645D6}" srcOrd="6" destOrd="0" parTransId="{3B1B5065-75BF-4F83-81D3-18F95997B7DA}" sibTransId="{97D03D91-1FC0-47D9-9548-392DADC50FF2}"/>
    <dgm:cxn modelId="{7D03FF65-C5BC-451F-A059-C391BF303B70}" srcId="{22DCF60F-8C68-4FAD-8266-367DB3AF434E}" destId="{7BD8D939-3BD9-4F7C-ADAF-7EB7454536C9}" srcOrd="4" destOrd="0" parTransId="{AA00CC25-81C2-4DA8-AF34-A28629A2D904}" sibTransId="{5F651D33-3C11-447A-8BC4-1126A4B8F8D6}"/>
    <dgm:cxn modelId="{3407F84A-C41B-4383-A97B-D61733A8DCD1}" type="presOf" srcId="{1AA15E42-7924-4929-B2A9-0D50AA769661}" destId="{E3D6AC22-A662-45CD-A088-E5E1BA5A9C68}" srcOrd="0" destOrd="0" presId="urn:microsoft.com/office/officeart/2018/2/layout/IconLabelList"/>
    <dgm:cxn modelId="{EB239F4B-641A-4D56-9F06-878AC6C1F4D7}" srcId="{22DCF60F-8C68-4FAD-8266-367DB3AF434E}" destId="{1AA15E42-7924-4929-B2A9-0D50AA769661}" srcOrd="2" destOrd="0" parTransId="{785F95EC-5763-4C9D-A92E-E25E5D1BD0B7}" sibTransId="{5CA4F132-8358-4C07-906B-6B15EFC7D7FD}"/>
    <dgm:cxn modelId="{951BE34F-114E-4F73-8134-4873D77DBA3B}" type="presOf" srcId="{7BD8D939-3BD9-4F7C-ADAF-7EB7454536C9}" destId="{52E879A6-7593-4805-803F-812962F16866}" srcOrd="0" destOrd="0" presId="urn:microsoft.com/office/officeart/2018/2/layout/IconLabelList"/>
    <dgm:cxn modelId="{E6854C72-374C-4CF5-93CE-8869D3935F43}" type="presOf" srcId="{2AB14303-AE53-4D5D-A1CA-02A901B965EB}" destId="{E18E0AA4-5AE9-4858-A894-84E1B58A64E3}" srcOrd="0" destOrd="0" presId="urn:microsoft.com/office/officeart/2018/2/layout/IconLabelList"/>
    <dgm:cxn modelId="{386F4A86-FCE1-4F2F-8599-3FBC1E8210C4}" type="presOf" srcId="{22DCF60F-8C68-4FAD-8266-367DB3AF434E}" destId="{FA6FF025-FC11-4C86-B95F-2145EFD09993}" srcOrd="0" destOrd="0" presId="urn:microsoft.com/office/officeart/2018/2/layout/IconLabelList"/>
    <dgm:cxn modelId="{7480898B-F5D6-4D81-A415-553882EDEF40}" srcId="{22DCF60F-8C68-4FAD-8266-367DB3AF434E}" destId="{2633535D-D7D6-4D9B-A033-B1A58E865A07}" srcOrd="0" destOrd="0" parTransId="{BC68DDCE-EB72-4671-892E-3CFA0B712C7E}" sibTransId="{802EA10E-4266-4607-B4B3-70470E2DD279}"/>
    <dgm:cxn modelId="{FCB567CE-312F-40EA-83D7-9CA137FFEDB8}" srcId="{22DCF60F-8C68-4FAD-8266-367DB3AF434E}" destId="{2AB14303-AE53-4D5D-A1CA-02A901B965EB}" srcOrd="3" destOrd="0" parTransId="{EFA62311-5C44-49A6-A906-08B8D26AB66D}" sibTransId="{3CA394E9-0947-47A7-86E0-755D15A9945A}"/>
    <dgm:cxn modelId="{51E4F0D0-CC3A-4A97-8A09-C6F684300438}" type="presOf" srcId="{2633535D-D7D6-4D9B-A033-B1A58E865A07}" destId="{2AA24F40-8F2A-4200-94B0-B41E73A3EC9A}" srcOrd="0" destOrd="0" presId="urn:microsoft.com/office/officeart/2018/2/layout/IconLabelList"/>
    <dgm:cxn modelId="{1EE3B2E0-737F-4073-B410-57B65682030E}" srcId="{22DCF60F-8C68-4FAD-8266-367DB3AF434E}" destId="{4FEA5853-112A-4F32-B74C-36776A4CB4DA}" srcOrd="5" destOrd="0" parTransId="{98485CE5-8F43-46DA-A4FF-42C5FEE933B0}" sibTransId="{5A8A0B01-291B-4C1E-8BC1-2227014FCD18}"/>
    <dgm:cxn modelId="{544819BC-C38D-405D-82AC-B806C895AC50}" type="presParOf" srcId="{FA6FF025-FC11-4C86-B95F-2145EFD09993}" destId="{B188C3B9-B8D8-4D70-B53B-BA123A7E29B3}" srcOrd="0" destOrd="0" presId="urn:microsoft.com/office/officeart/2018/2/layout/IconLabelList"/>
    <dgm:cxn modelId="{AD63C9B7-03BD-4339-918D-C65B606DEF19}" type="presParOf" srcId="{B188C3B9-B8D8-4D70-B53B-BA123A7E29B3}" destId="{EF42AFE0-60BC-47ED-A85A-4344A3CF8A9D}" srcOrd="0" destOrd="0" presId="urn:microsoft.com/office/officeart/2018/2/layout/IconLabelList"/>
    <dgm:cxn modelId="{5CD55D4D-77B8-405E-B1D2-ECFD1E838EE7}" type="presParOf" srcId="{B188C3B9-B8D8-4D70-B53B-BA123A7E29B3}" destId="{51F3A2C5-EF65-4362-A437-DBA450EC6CFE}" srcOrd="1" destOrd="0" presId="urn:microsoft.com/office/officeart/2018/2/layout/IconLabelList"/>
    <dgm:cxn modelId="{B8CC3581-498B-45F3-8AA1-4444BDD7D475}" type="presParOf" srcId="{B188C3B9-B8D8-4D70-B53B-BA123A7E29B3}" destId="{2AA24F40-8F2A-4200-94B0-B41E73A3EC9A}" srcOrd="2" destOrd="0" presId="urn:microsoft.com/office/officeart/2018/2/layout/IconLabelList"/>
    <dgm:cxn modelId="{DA974430-2137-46DC-B970-4610424C35A5}" type="presParOf" srcId="{FA6FF025-FC11-4C86-B95F-2145EFD09993}" destId="{476D9089-2A88-433A-96ED-209E5216962E}" srcOrd="1" destOrd="0" presId="urn:microsoft.com/office/officeart/2018/2/layout/IconLabelList"/>
    <dgm:cxn modelId="{A1CDDC37-7A2E-4369-A723-7A5C24F16257}" type="presParOf" srcId="{FA6FF025-FC11-4C86-B95F-2145EFD09993}" destId="{E3782744-3E16-4EFE-B5C2-2D66888670A8}" srcOrd="2" destOrd="0" presId="urn:microsoft.com/office/officeart/2018/2/layout/IconLabelList"/>
    <dgm:cxn modelId="{803EC9A9-2305-4CCB-B977-31D9EEAF4352}" type="presParOf" srcId="{E3782744-3E16-4EFE-B5C2-2D66888670A8}" destId="{4E9AEC8C-19C3-455D-9823-B7AB76C84CB6}" srcOrd="0" destOrd="0" presId="urn:microsoft.com/office/officeart/2018/2/layout/IconLabelList"/>
    <dgm:cxn modelId="{982268AE-04B0-4D9A-96C1-67C439CD4912}" type="presParOf" srcId="{E3782744-3E16-4EFE-B5C2-2D66888670A8}" destId="{3DBDCF3C-43D4-40C4-A8B7-BF2CAE73D852}" srcOrd="1" destOrd="0" presId="urn:microsoft.com/office/officeart/2018/2/layout/IconLabelList"/>
    <dgm:cxn modelId="{C4A0CDC7-3166-412A-BCBF-D18C311EAE39}" type="presParOf" srcId="{E3782744-3E16-4EFE-B5C2-2D66888670A8}" destId="{DF3689F0-8735-47AE-9750-6EFAB191C0D5}" srcOrd="2" destOrd="0" presId="urn:microsoft.com/office/officeart/2018/2/layout/IconLabelList"/>
    <dgm:cxn modelId="{45518037-B33B-488C-ABDF-A6497B49FC3E}" type="presParOf" srcId="{FA6FF025-FC11-4C86-B95F-2145EFD09993}" destId="{67DBB22A-C8E2-4A23-99FD-9926B92CD686}" srcOrd="3" destOrd="0" presId="urn:microsoft.com/office/officeart/2018/2/layout/IconLabelList"/>
    <dgm:cxn modelId="{A247E1BE-A911-4465-A66A-EBFC5367069C}" type="presParOf" srcId="{FA6FF025-FC11-4C86-B95F-2145EFD09993}" destId="{527C9C0B-3A4A-4A47-B463-55B2BF55FFDC}" srcOrd="4" destOrd="0" presId="urn:microsoft.com/office/officeart/2018/2/layout/IconLabelList"/>
    <dgm:cxn modelId="{47613970-EE34-4747-8954-C145CE6585BC}" type="presParOf" srcId="{527C9C0B-3A4A-4A47-B463-55B2BF55FFDC}" destId="{C6B75055-E174-4C7E-82BA-5A26E26FE17E}" srcOrd="0" destOrd="0" presId="urn:microsoft.com/office/officeart/2018/2/layout/IconLabelList"/>
    <dgm:cxn modelId="{347D9B86-309E-4E5A-94C7-49065910B3C6}" type="presParOf" srcId="{527C9C0B-3A4A-4A47-B463-55B2BF55FFDC}" destId="{8B741ED2-A24D-4FDC-BDAA-FFF33D1B0E48}" srcOrd="1" destOrd="0" presId="urn:microsoft.com/office/officeart/2018/2/layout/IconLabelList"/>
    <dgm:cxn modelId="{01EA3F24-DA8E-43FC-875D-56B4D20F54F6}" type="presParOf" srcId="{527C9C0B-3A4A-4A47-B463-55B2BF55FFDC}" destId="{E3D6AC22-A662-45CD-A088-E5E1BA5A9C68}" srcOrd="2" destOrd="0" presId="urn:microsoft.com/office/officeart/2018/2/layout/IconLabelList"/>
    <dgm:cxn modelId="{B629C86B-7D23-4643-B868-225F87888A0E}" type="presParOf" srcId="{FA6FF025-FC11-4C86-B95F-2145EFD09993}" destId="{38A4D0C3-99E7-4A3E-948D-7D948A97E686}" srcOrd="5" destOrd="0" presId="urn:microsoft.com/office/officeart/2018/2/layout/IconLabelList"/>
    <dgm:cxn modelId="{448304AE-8A2F-4233-AD01-210AF1E233F1}" type="presParOf" srcId="{FA6FF025-FC11-4C86-B95F-2145EFD09993}" destId="{841EDC87-D43B-4A14-A363-470917FB15CC}" srcOrd="6" destOrd="0" presId="urn:microsoft.com/office/officeart/2018/2/layout/IconLabelList"/>
    <dgm:cxn modelId="{1E3A51ED-3BAE-4CFD-82C6-F492E37A496D}" type="presParOf" srcId="{841EDC87-D43B-4A14-A363-470917FB15CC}" destId="{D16F3955-3818-430A-9139-A1611BB68D42}" srcOrd="0" destOrd="0" presId="urn:microsoft.com/office/officeart/2018/2/layout/IconLabelList"/>
    <dgm:cxn modelId="{58F0AD6E-F9C0-4789-B55B-EB7EEAD3F49C}" type="presParOf" srcId="{841EDC87-D43B-4A14-A363-470917FB15CC}" destId="{2B1AD20C-67C1-469F-BE64-6CFA0FF1E2CE}" srcOrd="1" destOrd="0" presId="urn:microsoft.com/office/officeart/2018/2/layout/IconLabelList"/>
    <dgm:cxn modelId="{D097F98B-5636-47BC-9307-FAB6040ED5C6}" type="presParOf" srcId="{841EDC87-D43B-4A14-A363-470917FB15CC}" destId="{E18E0AA4-5AE9-4858-A894-84E1B58A64E3}" srcOrd="2" destOrd="0" presId="urn:microsoft.com/office/officeart/2018/2/layout/IconLabelList"/>
    <dgm:cxn modelId="{23D1961D-DB77-4207-93ED-81EF4DAEF472}" type="presParOf" srcId="{FA6FF025-FC11-4C86-B95F-2145EFD09993}" destId="{E636425F-7423-4A61-9F49-ACDF3F065A6A}" srcOrd="7" destOrd="0" presId="urn:microsoft.com/office/officeart/2018/2/layout/IconLabelList"/>
    <dgm:cxn modelId="{489DBEE0-0FF6-468F-AE7F-ACC59F8C305F}" type="presParOf" srcId="{FA6FF025-FC11-4C86-B95F-2145EFD09993}" destId="{14E38FC9-53E9-4381-9E2F-13FB34003C40}" srcOrd="8" destOrd="0" presId="urn:microsoft.com/office/officeart/2018/2/layout/IconLabelList"/>
    <dgm:cxn modelId="{7FE3A905-E7C6-42CE-A509-5B875903FB0C}" type="presParOf" srcId="{14E38FC9-53E9-4381-9E2F-13FB34003C40}" destId="{73EDA74C-A7F8-41EA-8122-1A02F54BF10D}" srcOrd="0" destOrd="0" presId="urn:microsoft.com/office/officeart/2018/2/layout/IconLabelList"/>
    <dgm:cxn modelId="{7192F7D5-E49C-47C4-BDFF-14133C605CAE}" type="presParOf" srcId="{14E38FC9-53E9-4381-9E2F-13FB34003C40}" destId="{7205F391-69B7-4F2C-B1BB-53BD9F28657D}" srcOrd="1" destOrd="0" presId="urn:microsoft.com/office/officeart/2018/2/layout/IconLabelList"/>
    <dgm:cxn modelId="{7063F59F-1A20-497C-A356-AB941E6ED08A}" type="presParOf" srcId="{14E38FC9-53E9-4381-9E2F-13FB34003C40}" destId="{52E879A6-7593-4805-803F-812962F16866}" srcOrd="2" destOrd="0" presId="urn:microsoft.com/office/officeart/2018/2/layout/IconLabelList"/>
    <dgm:cxn modelId="{56CD9B87-AFDD-4319-A68A-08A1C3DD12CF}" type="presParOf" srcId="{FA6FF025-FC11-4C86-B95F-2145EFD09993}" destId="{DC7C4936-DC7D-4A29-9E47-302D949175CB}" srcOrd="9" destOrd="0" presId="urn:microsoft.com/office/officeart/2018/2/layout/IconLabelList"/>
    <dgm:cxn modelId="{5CABD630-820A-400C-AB80-9FC058E5F798}" type="presParOf" srcId="{FA6FF025-FC11-4C86-B95F-2145EFD09993}" destId="{4ED6F3AF-7EC1-46D0-963C-EA833AABE142}" srcOrd="10" destOrd="0" presId="urn:microsoft.com/office/officeart/2018/2/layout/IconLabelList"/>
    <dgm:cxn modelId="{855CA3BD-6116-41D2-8A6A-B892CE39D4A8}" type="presParOf" srcId="{4ED6F3AF-7EC1-46D0-963C-EA833AABE142}" destId="{69C20DE1-D51E-4B6C-9206-6E52A0CDE40B}" srcOrd="0" destOrd="0" presId="urn:microsoft.com/office/officeart/2018/2/layout/IconLabelList"/>
    <dgm:cxn modelId="{9CF4DB83-01CB-4C49-AD2A-F7F74977A75F}" type="presParOf" srcId="{4ED6F3AF-7EC1-46D0-963C-EA833AABE142}" destId="{75F197F2-2246-40AA-8650-8D366746FE9E}" srcOrd="1" destOrd="0" presId="urn:microsoft.com/office/officeart/2018/2/layout/IconLabelList"/>
    <dgm:cxn modelId="{E9E122E6-EAC0-4EFA-9150-7E2F6705C63E}" type="presParOf" srcId="{4ED6F3AF-7EC1-46D0-963C-EA833AABE142}" destId="{3C79EC61-FC21-4922-8164-3CA49AB60B0F}" srcOrd="2" destOrd="0" presId="urn:microsoft.com/office/officeart/2018/2/layout/IconLabelList"/>
    <dgm:cxn modelId="{BA84B626-F618-4250-B26A-422E10F7C34D}" type="presParOf" srcId="{FA6FF025-FC11-4C86-B95F-2145EFD09993}" destId="{2E46ED8B-A944-46F9-951D-9CBE354F9A32}" srcOrd="11" destOrd="0" presId="urn:microsoft.com/office/officeart/2018/2/layout/IconLabelList"/>
    <dgm:cxn modelId="{77039970-2ECB-48A6-B9E0-3919EEA2BE53}" type="presParOf" srcId="{FA6FF025-FC11-4C86-B95F-2145EFD09993}" destId="{C11381F3-9864-4360-940F-2ECE118272EC}" srcOrd="12" destOrd="0" presId="urn:microsoft.com/office/officeart/2018/2/layout/IconLabelList"/>
    <dgm:cxn modelId="{50C96256-691C-42FA-976C-B93C8CF7CDD6}" type="presParOf" srcId="{C11381F3-9864-4360-940F-2ECE118272EC}" destId="{F7A2EEB5-076D-4357-953B-A010D4BE6B39}" srcOrd="0" destOrd="0" presId="urn:microsoft.com/office/officeart/2018/2/layout/IconLabelList"/>
    <dgm:cxn modelId="{677CE987-B4B3-4480-A2E6-9201C2A6D1FF}" type="presParOf" srcId="{C11381F3-9864-4360-940F-2ECE118272EC}" destId="{4350B964-B319-4344-9E80-F46A02385533}" srcOrd="1" destOrd="0" presId="urn:microsoft.com/office/officeart/2018/2/layout/IconLabelList"/>
    <dgm:cxn modelId="{C98BB724-D9E0-4704-9F31-85FD6C44E7B7}" type="presParOf" srcId="{C11381F3-9864-4360-940F-2ECE118272EC}" destId="{6D042A56-1FA0-45D2-8E3B-0D0E5D172669}"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9B8237E-26F4-49B0-A49A-D490A0B65D08}"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359FA08-371C-4461-91F0-CBFF9889CADD}">
      <dgm:prSet/>
      <dgm:spPr/>
      <dgm:t>
        <a:bodyPr/>
        <a:lstStyle/>
        <a:p>
          <a:pPr>
            <a:lnSpc>
              <a:spcPct val="100000"/>
            </a:lnSpc>
          </a:pPr>
          <a:r>
            <a:rPr lang="en-US"/>
            <a:t>Section 35 – generally, the author or authors are the owners of the copyright</a:t>
          </a:r>
        </a:p>
      </dgm:t>
    </dgm:pt>
    <dgm:pt modelId="{7DFFBD26-5561-41E3-8A35-5E21F654E603}" type="parTrans" cxnId="{D85CC56C-0495-4CEF-9244-C08D38501578}">
      <dgm:prSet/>
      <dgm:spPr/>
      <dgm:t>
        <a:bodyPr/>
        <a:lstStyle/>
        <a:p>
          <a:endParaRPr lang="en-US"/>
        </a:p>
      </dgm:t>
    </dgm:pt>
    <dgm:pt modelId="{CAAA524F-0B5A-40F9-889E-668BC9FF194A}" type="sibTrans" cxnId="{D85CC56C-0495-4CEF-9244-C08D38501578}">
      <dgm:prSet/>
      <dgm:spPr/>
      <dgm:t>
        <a:bodyPr/>
        <a:lstStyle/>
        <a:p>
          <a:endParaRPr lang="en-US"/>
        </a:p>
      </dgm:t>
    </dgm:pt>
    <dgm:pt modelId="{10E7F804-DF02-4CAC-BF56-CFDEE093E4E6}">
      <dgm:prSet/>
      <dgm:spPr/>
      <dgm:t>
        <a:bodyPr/>
        <a:lstStyle/>
        <a:p>
          <a:pPr>
            <a:lnSpc>
              <a:spcPct val="100000"/>
            </a:lnSpc>
          </a:pPr>
          <a:r>
            <a:rPr lang="en-US"/>
            <a:t>Section 35(6) – generally, employers own copyright in works created by their employees</a:t>
          </a:r>
        </a:p>
      </dgm:t>
    </dgm:pt>
    <dgm:pt modelId="{EF8FAD79-F9B2-4344-909A-9DB574DBAED8}" type="parTrans" cxnId="{B053D0BC-C53E-4E89-B132-D17F8BCAA609}">
      <dgm:prSet/>
      <dgm:spPr/>
      <dgm:t>
        <a:bodyPr/>
        <a:lstStyle/>
        <a:p>
          <a:endParaRPr lang="en-US"/>
        </a:p>
      </dgm:t>
    </dgm:pt>
    <dgm:pt modelId="{D715C295-300E-4CCD-BE7C-3FB254E1D248}" type="sibTrans" cxnId="{B053D0BC-C53E-4E89-B132-D17F8BCAA609}">
      <dgm:prSet/>
      <dgm:spPr/>
      <dgm:t>
        <a:bodyPr/>
        <a:lstStyle/>
        <a:p>
          <a:endParaRPr lang="en-US"/>
        </a:p>
      </dgm:t>
    </dgm:pt>
    <dgm:pt modelId="{424F53D2-74F4-4D4E-84A8-8F58C3F21B8F}" type="pres">
      <dgm:prSet presAssocID="{49B8237E-26F4-49B0-A49A-D490A0B65D08}" presName="root" presStyleCnt="0">
        <dgm:presLayoutVars>
          <dgm:dir/>
          <dgm:resizeHandles val="exact"/>
        </dgm:presLayoutVars>
      </dgm:prSet>
      <dgm:spPr/>
    </dgm:pt>
    <dgm:pt modelId="{55917F06-A8CA-4369-AB1F-07E87635F205}" type="pres">
      <dgm:prSet presAssocID="{F359FA08-371C-4461-91F0-CBFF9889CADD}" presName="compNode" presStyleCnt="0"/>
      <dgm:spPr/>
    </dgm:pt>
    <dgm:pt modelId="{EA06F1DF-2DB9-423C-A52B-975ED6A29823}" type="pres">
      <dgm:prSet presAssocID="{F359FA08-371C-4461-91F0-CBFF9889CADD}" presName="bgRect" presStyleLbl="bgShp" presStyleIdx="0" presStyleCnt="2"/>
      <dgm:spPr/>
    </dgm:pt>
    <dgm:pt modelId="{B677F68F-87DC-4CB1-BA2A-1E42B185DCED}" type="pres">
      <dgm:prSet presAssocID="{F359FA08-371C-4461-91F0-CBFF9889CADD}"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ooks"/>
        </a:ext>
      </dgm:extLst>
    </dgm:pt>
    <dgm:pt modelId="{5FC02AAA-6AEC-47A4-8C96-406A7CE344DD}" type="pres">
      <dgm:prSet presAssocID="{F359FA08-371C-4461-91F0-CBFF9889CADD}" presName="spaceRect" presStyleCnt="0"/>
      <dgm:spPr/>
    </dgm:pt>
    <dgm:pt modelId="{1A61FFB5-F080-453F-A175-0830FB900FB0}" type="pres">
      <dgm:prSet presAssocID="{F359FA08-371C-4461-91F0-CBFF9889CADD}" presName="parTx" presStyleLbl="revTx" presStyleIdx="0" presStyleCnt="2">
        <dgm:presLayoutVars>
          <dgm:chMax val="0"/>
          <dgm:chPref val="0"/>
        </dgm:presLayoutVars>
      </dgm:prSet>
      <dgm:spPr/>
    </dgm:pt>
    <dgm:pt modelId="{0CA03A68-7F60-411F-B29F-D418B5757865}" type="pres">
      <dgm:prSet presAssocID="{CAAA524F-0B5A-40F9-889E-668BC9FF194A}" presName="sibTrans" presStyleCnt="0"/>
      <dgm:spPr/>
    </dgm:pt>
    <dgm:pt modelId="{30160035-33F6-4EA8-B34A-E5DAB95D58C2}" type="pres">
      <dgm:prSet presAssocID="{10E7F804-DF02-4CAC-BF56-CFDEE093E4E6}" presName="compNode" presStyleCnt="0"/>
      <dgm:spPr/>
    </dgm:pt>
    <dgm:pt modelId="{B229EC73-1975-4795-B55C-004C4D2BA12E}" type="pres">
      <dgm:prSet presAssocID="{10E7F804-DF02-4CAC-BF56-CFDEE093E4E6}" presName="bgRect" presStyleLbl="bgShp" presStyleIdx="1" presStyleCnt="2"/>
      <dgm:spPr/>
    </dgm:pt>
    <dgm:pt modelId="{6A127872-9A55-4AF0-9F31-63D96763AC1B}" type="pres">
      <dgm:prSet presAssocID="{10E7F804-DF02-4CAC-BF56-CFDEE093E4E6}"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Factory"/>
        </a:ext>
      </dgm:extLst>
    </dgm:pt>
    <dgm:pt modelId="{1BE48BD0-D27F-4053-BEDD-8DD06E659B96}" type="pres">
      <dgm:prSet presAssocID="{10E7F804-DF02-4CAC-BF56-CFDEE093E4E6}" presName="spaceRect" presStyleCnt="0"/>
      <dgm:spPr/>
    </dgm:pt>
    <dgm:pt modelId="{2C78C2F7-5458-4526-9985-779F3E2D312A}" type="pres">
      <dgm:prSet presAssocID="{10E7F804-DF02-4CAC-BF56-CFDEE093E4E6}" presName="parTx" presStyleLbl="revTx" presStyleIdx="1" presStyleCnt="2">
        <dgm:presLayoutVars>
          <dgm:chMax val="0"/>
          <dgm:chPref val="0"/>
        </dgm:presLayoutVars>
      </dgm:prSet>
      <dgm:spPr/>
    </dgm:pt>
  </dgm:ptLst>
  <dgm:cxnLst>
    <dgm:cxn modelId="{C434CF26-9E45-4797-A2AE-3BFEE8091FD8}" type="presOf" srcId="{10E7F804-DF02-4CAC-BF56-CFDEE093E4E6}" destId="{2C78C2F7-5458-4526-9985-779F3E2D312A}" srcOrd="0" destOrd="0" presId="urn:microsoft.com/office/officeart/2018/2/layout/IconVerticalSolidList"/>
    <dgm:cxn modelId="{D85CC56C-0495-4CEF-9244-C08D38501578}" srcId="{49B8237E-26F4-49B0-A49A-D490A0B65D08}" destId="{F359FA08-371C-4461-91F0-CBFF9889CADD}" srcOrd="0" destOrd="0" parTransId="{7DFFBD26-5561-41E3-8A35-5E21F654E603}" sibTransId="{CAAA524F-0B5A-40F9-889E-668BC9FF194A}"/>
    <dgm:cxn modelId="{B053D0BC-C53E-4E89-B132-D17F8BCAA609}" srcId="{49B8237E-26F4-49B0-A49A-D490A0B65D08}" destId="{10E7F804-DF02-4CAC-BF56-CFDEE093E4E6}" srcOrd="1" destOrd="0" parTransId="{EF8FAD79-F9B2-4344-909A-9DB574DBAED8}" sibTransId="{D715C295-300E-4CCD-BE7C-3FB254E1D248}"/>
    <dgm:cxn modelId="{165DC9EB-B44D-486E-A227-5E502F97ABE6}" type="presOf" srcId="{49B8237E-26F4-49B0-A49A-D490A0B65D08}" destId="{424F53D2-74F4-4D4E-84A8-8F58C3F21B8F}" srcOrd="0" destOrd="0" presId="urn:microsoft.com/office/officeart/2018/2/layout/IconVerticalSolidList"/>
    <dgm:cxn modelId="{B66E0BF7-76CF-4090-AD72-B0378C9FBE16}" type="presOf" srcId="{F359FA08-371C-4461-91F0-CBFF9889CADD}" destId="{1A61FFB5-F080-453F-A175-0830FB900FB0}" srcOrd="0" destOrd="0" presId="urn:microsoft.com/office/officeart/2018/2/layout/IconVerticalSolidList"/>
    <dgm:cxn modelId="{9320BC30-1E10-4235-8A4E-40EC8ADC8E75}" type="presParOf" srcId="{424F53D2-74F4-4D4E-84A8-8F58C3F21B8F}" destId="{55917F06-A8CA-4369-AB1F-07E87635F205}" srcOrd="0" destOrd="0" presId="urn:microsoft.com/office/officeart/2018/2/layout/IconVerticalSolidList"/>
    <dgm:cxn modelId="{1BDEF022-D05E-4F1C-B63A-D0E8B200946D}" type="presParOf" srcId="{55917F06-A8CA-4369-AB1F-07E87635F205}" destId="{EA06F1DF-2DB9-423C-A52B-975ED6A29823}" srcOrd="0" destOrd="0" presId="urn:microsoft.com/office/officeart/2018/2/layout/IconVerticalSolidList"/>
    <dgm:cxn modelId="{5E218EF6-F8EB-4F43-8BB2-B9E65F8368A9}" type="presParOf" srcId="{55917F06-A8CA-4369-AB1F-07E87635F205}" destId="{B677F68F-87DC-4CB1-BA2A-1E42B185DCED}" srcOrd="1" destOrd="0" presId="urn:microsoft.com/office/officeart/2018/2/layout/IconVerticalSolidList"/>
    <dgm:cxn modelId="{2347D30D-CACC-41D9-98A0-87B903EEA7C0}" type="presParOf" srcId="{55917F06-A8CA-4369-AB1F-07E87635F205}" destId="{5FC02AAA-6AEC-47A4-8C96-406A7CE344DD}" srcOrd="2" destOrd="0" presId="urn:microsoft.com/office/officeart/2018/2/layout/IconVerticalSolidList"/>
    <dgm:cxn modelId="{06A2A20D-BC49-43A5-9038-EDBDD463BF25}" type="presParOf" srcId="{55917F06-A8CA-4369-AB1F-07E87635F205}" destId="{1A61FFB5-F080-453F-A175-0830FB900FB0}" srcOrd="3" destOrd="0" presId="urn:microsoft.com/office/officeart/2018/2/layout/IconVerticalSolidList"/>
    <dgm:cxn modelId="{B55EC398-BD36-4FDC-8FA8-816E69C6418B}" type="presParOf" srcId="{424F53D2-74F4-4D4E-84A8-8F58C3F21B8F}" destId="{0CA03A68-7F60-411F-B29F-D418B5757865}" srcOrd="1" destOrd="0" presId="urn:microsoft.com/office/officeart/2018/2/layout/IconVerticalSolidList"/>
    <dgm:cxn modelId="{CBBB4C40-2D48-4554-8658-91822F2485D9}" type="presParOf" srcId="{424F53D2-74F4-4D4E-84A8-8F58C3F21B8F}" destId="{30160035-33F6-4EA8-B34A-E5DAB95D58C2}" srcOrd="2" destOrd="0" presId="urn:microsoft.com/office/officeart/2018/2/layout/IconVerticalSolidList"/>
    <dgm:cxn modelId="{6184B8BC-FF7E-41C7-AB4A-8374BD28FE47}" type="presParOf" srcId="{30160035-33F6-4EA8-B34A-E5DAB95D58C2}" destId="{B229EC73-1975-4795-B55C-004C4D2BA12E}" srcOrd="0" destOrd="0" presId="urn:microsoft.com/office/officeart/2018/2/layout/IconVerticalSolidList"/>
    <dgm:cxn modelId="{C78FEA84-2E9B-4438-89D0-DABEDEB9AD4B}" type="presParOf" srcId="{30160035-33F6-4EA8-B34A-E5DAB95D58C2}" destId="{6A127872-9A55-4AF0-9F31-63D96763AC1B}" srcOrd="1" destOrd="0" presId="urn:microsoft.com/office/officeart/2018/2/layout/IconVerticalSolidList"/>
    <dgm:cxn modelId="{4E52B30F-27A4-4C47-91EB-0F783B3B909B}" type="presParOf" srcId="{30160035-33F6-4EA8-B34A-E5DAB95D58C2}" destId="{1BE48BD0-D27F-4053-BEDD-8DD06E659B96}" srcOrd="2" destOrd="0" presId="urn:microsoft.com/office/officeart/2018/2/layout/IconVerticalSolidList"/>
    <dgm:cxn modelId="{BF328024-0AAF-4338-AAAB-BD1C8A08EA3A}" type="presParOf" srcId="{30160035-33F6-4EA8-B34A-E5DAB95D58C2}" destId="{2C78C2F7-5458-4526-9985-779F3E2D312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E362CFE-A4C7-476D-B0E3-D25063CEB3BA}" type="doc">
      <dgm:prSet loTypeId="urn:microsoft.com/office/officeart/2018/2/layout/IconLabelDescriptionList" loCatId="icon" qsTypeId="urn:microsoft.com/office/officeart/2005/8/quickstyle/simple1" qsCatId="simple" csTypeId="urn:microsoft.com/office/officeart/2018/5/colors/Iconchunking_neutralbg_colorful2" csCatId="colorful" phldr="1"/>
      <dgm:spPr/>
      <dgm:t>
        <a:bodyPr/>
        <a:lstStyle/>
        <a:p>
          <a:endParaRPr lang="en-US"/>
        </a:p>
      </dgm:t>
    </dgm:pt>
    <dgm:pt modelId="{2AD43070-1BD6-4BE6-BF25-2153C5F91FA4}">
      <dgm:prSet/>
      <dgm:spPr/>
      <dgm:t>
        <a:bodyPr/>
        <a:lstStyle/>
        <a:p>
          <a:pPr>
            <a:defRPr b="1"/>
          </a:pPr>
          <a:r>
            <a:rPr lang="en-US"/>
            <a:t>Copyright does not protect ideas, information, styles or techniques</a:t>
          </a:r>
        </a:p>
      </dgm:t>
    </dgm:pt>
    <dgm:pt modelId="{AA972B3D-8B3B-4CC5-B4A1-56901899D6E6}" type="parTrans" cxnId="{7C30040A-8556-49EF-A78A-BD8EF3A251F8}">
      <dgm:prSet/>
      <dgm:spPr/>
      <dgm:t>
        <a:bodyPr/>
        <a:lstStyle/>
        <a:p>
          <a:endParaRPr lang="en-US"/>
        </a:p>
      </dgm:t>
    </dgm:pt>
    <dgm:pt modelId="{4617F8E2-D230-4CE7-B9A6-CABF1355CBF3}" type="sibTrans" cxnId="{7C30040A-8556-49EF-A78A-BD8EF3A251F8}">
      <dgm:prSet/>
      <dgm:spPr/>
      <dgm:t>
        <a:bodyPr/>
        <a:lstStyle/>
        <a:p>
          <a:endParaRPr lang="en-US"/>
        </a:p>
      </dgm:t>
    </dgm:pt>
    <dgm:pt modelId="{22469C17-9CF8-4DDA-BC68-D605923ED89D}">
      <dgm:prSet/>
      <dgm:spPr/>
      <dgm:t>
        <a:bodyPr/>
        <a:lstStyle/>
        <a:p>
          <a:pPr>
            <a:defRPr b="1"/>
          </a:pPr>
          <a:r>
            <a:rPr lang="en-US"/>
            <a:t>Copyright does not protect names, titles or slogans</a:t>
          </a:r>
        </a:p>
      </dgm:t>
    </dgm:pt>
    <dgm:pt modelId="{57B3AB67-5F36-49FE-B835-B085007AB815}" type="parTrans" cxnId="{82AB4C9E-FCD7-4C21-B8A9-C46A9065BB88}">
      <dgm:prSet/>
      <dgm:spPr/>
      <dgm:t>
        <a:bodyPr/>
        <a:lstStyle/>
        <a:p>
          <a:endParaRPr lang="en-US"/>
        </a:p>
      </dgm:t>
    </dgm:pt>
    <dgm:pt modelId="{8CC10EE9-B5F0-453A-A595-095AC2304C00}" type="sibTrans" cxnId="{82AB4C9E-FCD7-4C21-B8A9-C46A9065BB88}">
      <dgm:prSet/>
      <dgm:spPr/>
      <dgm:t>
        <a:bodyPr/>
        <a:lstStyle/>
        <a:p>
          <a:endParaRPr lang="en-US"/>
        </a:p>
      </dgm:t>
    </dgm:pt>
    <dgm:pt modelId="{D30AF191-A793-46EA-ABA0-0E53BF56903F}">
      <dgm:prSet/>
      <dgm:spPr/>
      <dgm:t>
        <a:bodyPr/>
        <a:lstStyle/>
        <a:p>
          <a:pPr>
            <a:defRPr b="1"/>
          </a:pPr>
          <a:r>
            <a:rPr lang="en-US"/>
            <a:t>It ONLY protects rights in works or other subject matter </a:t>
          </a:r>
        </a:p>
      </dgm:t>
    </dgm:pt>
    <dgm:pt modelId="{25B84FE6-113B-4409-8E59-549122BA6997}" type="parTrans" cxnId="{59CF6409-C5FB-4711-8C22-7BF0F001F586}">
      <dgm:prSet/>
      <dgm:spPr/>
      <dgm:t>
        <a:bodyPr/>
        <a:lstStyle/>
        <a:p>
          <a:endParaRPr lang="en-US"/>
        </a:p>
      </dgm:t>
    </dgm:pt>
    <dgm:pt modelId="{2A155933-FD46-4B28-AA52-F643EDD767A2}" type="sibTrans" cxnId="{59CF6409-C5FB-4711-8C22-7BF0F001F586}">
      <dgm:prSet/>
      <dgm:spPr/>
      <dgm:t>
        <a:bodyPr/>
        <a:lstStyle/>
        <a:p>
          <a:endParaRPr lang="en-US"/>
        </a:p>
      </dgm:t>
    </dgm:pt>
    <dgm:pt modelId="{6AF2BD81-084B-458C-BF4E-C8106D17EB38}">
      <dgm:prSet/>
      <dgm:spPr/>
      <dgm:t>
        <a:bodyPr/>
        <a:lstStyle/>
        <a:p>
          <a:pPr>
            <a:defRPr b="1"/>
          </a:pPr>
          <a:r>
            <a:rPr lang="en-US"/>
            <a:t>The originality threshold is low</a:t>
          </a:r>
        </a:p>
      </dgm:t>
    </dgm:pt>
    <dgm:pt modelId="{CA38C8D5-957E-4BB1-83B3-566C028EE1F7}" type="parTrans" cxnId="{CAB2B3B5-D84F-492D-88F2-A5BD44945EC9}">
      <dgm:prSet/>
      <dgm:spPr/>
      <dgm:t>
        <a:bodyPr/>
        <a:lstStyle/>
        <a:p>
          <a:endParaRPr lang="en-US"/>
        </a:p>
      </dgm:t>
    </dgm:pt>
    <dgm:pt modelId="{1CD94DEB-BD70-4412-B6A9-861E162E12DC}" type="sibTrans" cxnId="{CAB2B3B5-D84F-492D-88F2-A5BD44945EC9}">
      <dgm:prSet/>
      <dgm:spPr/>
      <dgm:t>
        <a:bodyPr/>
        <a:lstStyle/>
        <a:p>
          <a:endParaRPr lang="en-US"/>
        </a:p>
      </dgm:t>
    </dgm:pt>
    <dgm:pt modelId="{A2B09DF8-0E44-45C0-9964-37929661D617}">
      <dgm:prSet/>
      <dgm:spPr/>
      <dgm:t>
        <a:bodyPr/>
        <a:lstStyle/>
        <a:p>
          <a:r>
            <a:rPr lang="en-US" i="1"/>
            <a:t>Telstra Corporation Limited v Phone Directories Co Pty Ltd </a:t>
          </a:r>
          <a:r>
            <a:rPr lang="en-US"/>
            <a:t>[2010] FCA 44 (Gordon J) at [344] approved in </a:t>
          </a:r>
          <a:r>
            <a:rPr lang="en-US" i="1"/>
            <a:t>Chou v Metstech Pty Limited </a:t>
          </a:r>
          <a:r>
            <a:rPr lang="en-US"/>
            <a:t>[2023] FCAFC 205 at [34]-[36]</a:t>
          </a:r>
        </a:p>
      </dgm:t>
    </dgm:pt>
    <dgm:pt modelId="{F2CCCADC-AD86-4574-AFCD-ACC32FB96FE9}" type="parTrans" cxnId="{49FE9EA7-C1E8-44E7-A497-D7CC70D33EF1}">
      <dgm:prSet/>
      <dgm:spPr/>
      <dgm:t>
        <a:bodyPr/>
        <a:lstStyle/>
        <a:p>
          <a:endParaRPr lang="en-US"/>
        </a:p>
      </dgm:t>
    </dgm:pt>
    <dgm:pt modelId="{91A1D25F-7C9A-4CFE-B33E-37A6FE039EE6}" type="sibTrans" cxnId="{49FE9EA7-C1E8-44E7-A497-D7CC70D33EF1}">
      <dgm:prSet/>
      <dgm:spPr/>
      <dgm:t>
        <a:bodyPr/>
        <a:lstStyle/>
        <a:p>
          <a:endParaRPr lang="en-US"/>
        </a:p>
      </dgm:t>
    </dgm:pt>
    <dgm:pt modelId="{AD2A6C6E-922B-402A-AA0B-16D5B2395C0F}" type="pres">
      <dgm:prSet presAssocID="{AE362CFE-A4C7-476D-B0E3-D25063CEB3BA}" presName="root" presStyleCnt="0">
        <dgm:presLayoutVars>
          <dgm:dir/>
          <dgm:resizeHandles val="exact"/>
        </dgm:presLayoutVars>
      </dgm:prSet>
      <dgm:spPr/>
    </dgm:pt>
    <dgm:pt modelId="{E5133F65-B31D-44B6-9F99-D3CB80E541DB}" type="pres">
      <dgm:prSet presAssocID="{2AD43070-1BD6-4BE6-BF25-2153C5F91FA4}" presName="compNode" presStyleCnt="0"/>
      <dgm:spPr/>
    </dgm:pt>
    <dgm:pt modelId="{90BCD6DF-54C9-4EE5-80E7-09475E359799}" type="pres">
      <dgm:prSet presAssocID="{2AD43070-1BD6-4BE6-BF25-2153C5F91FA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rritant"/>
        </a:ext>
      </dgm:extLst>
    </dgm:pt>
    <dgm:pt modelId="{F1FD7551-566D-4B22-B038-1DA277F70710}" type="pres">
      <dgm:prSet presAssocID="{2AD43070-1BD6-4BE6-BF25-2153C5F91FA4}" presName="iconSpace" presStyleCnt="0"/>
      <dgm:spPr/>
    </dgm:pt>
    <dgm:pt modelId="{E01AF4E3-C3DF-4CDA-9A0E-E2C96BB112DB}" type="pres">
      <dgm:prSet presAssocID="{2AD43070-1BD6-4BE6-BF25-2153C5F91FA4}" presName="parTx" presStyleLbl="revTx" presStyleIdx="0" presStyleCnt="8">
        <dgm:presLayoutVars>
          <dgm:chMax val="0"/>
          <dgm:chPref val="0"/>
        </dgm:presLayoutVars>
      </dgm:prSet>
      <dgm:spPr/>
    </dgm:pt>
    <dgm:pt modelId="{290ABC06-49CF-4C83-93B9-5E38AF582A97}" type="pres">
      <dgm:prSet presAssocID="{2AD43070-1BD6-4BE6-BF25-2153C5F91FA4}" presName="txSpace" presStyleCnt="0"/>
      <dgm:spPr/>
    </dgm:pt>
    <dgm:pt modelId="{B50F7F0E-186D-499E-A8EF-9E0E49A0DAE5}" type="pres">
      <dgm:prSet presAssocID="{2AD43070-1BD6-4BE6-BF25-2153C5F91FA4}" presName="desTx" presStyleLbl="revTx" presStyleIdx="1" presStyleCnt="8">
        <dgm:presLayoutVars/>
      </dgm:prSet>
      <dgm:spPr/>
    </dgm:pt>
    <dgm:pt modelId="{F26E66C6-6F24-4812-9983-FE6494BCA594}" type="pres">
      <dgm:prSet presAssocID="{4617F8E2-D230-4CE7-B9A6-CABF1355CBF3}" presName="sibTrans" presStyleCnt="0"/>
      <dgm:spPr/>
    </dgm:pt>
    <dgm:pt modelId="{F95E414C-8FB1-4611-9291-1068C64AC3A0}" type="pres">
      <dgm:prSet presAssocID="{22469C17-9CF8-4DDA-BC68-D605923ED89D}" presName="compNode" presStyleCnt="0"/>
      <dgm:spPr/>
    </dgm:pt>
    <dgm:pt modelId="{C9494950-645C-49AF-B6A8-EF6F3A6F088A}" type="pres">
      <dgm:prSet presAssocID="{22469C17-9CF8-4DDA-BC68-D605923ED89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No sign"/>
        </a:ext>
      </dgm:extLst>
    </dgm:pt>
    <dgm:pt modelId="{100933A0-04F3-4EE3-882D-EE6C6A40C690}" type="pres">
      <dgm:prSet presAssocID="{22469C17-9CF8-4DDA-BC68-D605923ED89D}" presName="iconSpace" presStyleCnt="0"/>
      <dgm:spPr/>
    </dgm:pt>
    <dgm:pt modelId="{15FF9F7B-DA85-47D0-AFD8-6D151664A950}" type="pres">
      <dgm:prSet presAssocID="{22469C17-9CF8-4DDA-BC68-D605923ED89D}" presName="parTx" presStyleLbl="revTx" presStyleIdx="2" presStyleCnt="8">
        <dgm:presLayoutVars>
          <dgm:chMax val="0"/>
          <dgm:chPref val="0"/>
        </dgm:presLayoutVars>
      </dgm:prSet>
      <dgm:spPr/>
    </dgm:pt>
    <dgm:pt modelId="{A2113851-9338-4A09-8F4A-8031B3BE9EA6}" type="pres">
      <dgm:prSet presAssocID="{22469C17-9CF8-4DDA-BC68-D605923ED89D}" presName="txSpace" presStyleCnt="0"/>
      <dgm:spPr/>
    </dgm:pt>
    <dgm:pt modelId="{3883A120-136F-4C5F-9FB3-BF23F69F1E05}" type="pres">
      <dgm:prSet presAssocID="{22469C17-9CF8-4DDA-BC68-D605923ED89D}" presName="desTx" presStyleLbl="revTx" presStyleIdx="3" presStyleCnt="8">
        <dgm:presLayoutVars/>
      </dgm:prSet>
      <dgm:spPr/>
    </dgm:pt>
    <dgm:pt modelId="{3387BEF5-7E0C-4B5F-8599-8B46E5E88D70}" type="pres">
      <dgm:prSet presAssocID="{8CC10EE9-B5F0-453A-A595-095AC2304C00}" presName="sibTrans" presStyleCnt="0"/>
      <dgm:spPr/>
    </dgm:pt>
    <dgm:pt modelId="{01BE63BF-CB44-4AC0-AE92-E93375B59888}" type="pres">
      <dgm:prSet presAssocID="{D30AF191-A793-46EA-ABA0-0E53BF56903F}" presName="compNode" presStyleCnt="0"/>
      <dgm:spPr/>
    </dgm:pt>
    <dgm:pt modelId="{F4EF9E7D-5DEF-4B0E-90FF-3B23796D6C5F}" type="pres">
      <dgm:prSet presAssocID="{D30AF191-A793-46EA-ABA0-0E53BF56903F}"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cales of Justice"/>
        </a:ext>
      </dgm:extLst>
    </dgm:pt>
    <dgm:pt modelId="{6A2103B6-B4EE-4E4B-BDF3-95E2EB37F300}" type="pres">
      <dgm:prSet presAssocID="{D30AF191-A793-46EA-ABA0-0E53BF56903F}" presName="iconSpace" presStyleCnt="0"/>
      <dgm:spPr/>
    </dgm:pt>
    <dgm:pt modelId="{9BEBD7ED-74BE-42DB-ADFB-003F5EA8F0E7}" type="pres">
      <dgm:prSet presAssocID="{D30AF191-A793-46EA-ABA0-0E53BF56903F}" presName="parTx" presStyleLbl="revTx" presStyleIdx="4" presStyleCnt="8">
        <dgm:presLayoutVars>
          <dgm:chMax val="0"/>
          <dgm:chPref val="0"/>
        </dgm:presLayoutVars>
      </dgm:prSet>
      <dgm:spPr/>
    </dgm:pt>
    <dgm:pt modelId="{7E3EDF70-61B6-4971-BE48-D5D1C3A53B44}" type="pres">
      <dgm:prSet presAssocID="{D30AF191-A793-46EA-ABA0-0E53BF56903F}" presName="txSpace" presStyleCnt="0"/>
      <dgm:spPr/>
    </dgm:pt>
    <dgm:pt modelId="{3AED30B6-EA2B-4B63-82CE-16DF815C4B19}" type="pres">
      <dgm:prSet presAssocID="{D30AF191-A793-46EA-ABA0-0E53BF56903F}" presName="desTx" presStyleLbl="revTx" presStyleIdx="5" presStyleCnt="8">
        <dgm:presLayoutVars/>
      </dgm:prSet>
      <dgm:spPr/>
    </dgm:pt>
    <dgm:pt modelId="{B198DCA8-AA71-4487-A10F-4F04B7ABF8F0}" type="pres">
      <dgm:prSet presAssocID="{2A155933-FD46-4B28-AA52-F643EDD767A2}" presName="sibTrans" presStyleCnt="0"/>
      <dgm:spPr/>
    </dgm:pt>
    <dgm:pt modelId="{1B033816-087E-467A-987E-6DF28D3EF3A8}" type="pres">
      <dgm:prSet presAssocID="{6AF2BD81-084B-458C-BF4E-C8106D17EB38}" presName="compNode" presStyleCnt="0"/>
      <dgm:spPr/>
    </dgm:pt>
    <dgm:pt modelId="{02B06133-76B9-4E41-A9C0-281EA8869FE3}" type="pres">
      <dgm:prSet presAssocID="{6AF2BD81-084B-458C-BF4E-C8106D17EB3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Office Worker"/>
        </a:ext>
      </dgm:extLst>
    </dgm:pt>
    <dgm:pt modelId="{EEADE795-90A7-4458-B076-233A0E0AF6DB}" type="pres">
      <dgm:prSet presAssocID="{6AF2BD81-084B-458C-BF4E-C8106D17EB38}" presName="iconSpace" presStyleCnt="0"/>
      <dgm:spPr/>
    </dgm:pt>
    <dgm:pt modelId="{EC6BC617-00AD-49C8-9306-17103377A8B6}" type="pres">
      <dgm:prSet presAssocID="{6AF2BD81-084B-458C-BF4E-C8106D17EB38}" presName="parTx" presStyleLbl="revTx" presStyleIdx="6" presStyleCnt="8">
        <dgm:presLayoutVars>
          <dgm:chMax val="0"/>
          <dgm:chPref val="0"/>
        </dgm:presLayoutVars>
      </dgm:prSet>
      <dgm:spPr/>
    </dgm:pt>
    <dgm:pt modelId="{28351A58-6FEB-4565-8FCF-3B9B72919391}" type="pres">
      <dgm:prSet presAssocID="{6AF2BD81-084B-458C-BF4E-C8106D17EB38}" presName="txSpace" presStyleCnt="0"/>
      <dgm:spPr/>
    </dgm:pt>
    <dgm:pt modelId="{0C9A9B3A-792F-42EC-82C7-99433263FF38}" type="pres">
      <dgm:prSet presAssocID="{6AF2BD81-084B-458C-BF4E-C8106D17EB38}" presName="desTx" presStyleLbl="revTx" presStyleIdx="7" presStyleCnt="8">
        <dgm:presLayoutVars/>
      </dgm:prSet>
      <dgm:spPr/>
    </dgm:pt>
  </dgm:ptLst>
  <dgm:cxnLst>
    <dgm:cxn modelId="{B50CE304-837A-4B41-8F9C-65EE76D6B594}" type="presOf" srcId="{A2B09DF8-0E44-45C0-9964-37929661D617}" destId="{0C9A9B3A-792F-42EC-82C7-99433263FF38}" srcOrd="0" destOrd="0" presId="urn:microsoft.com/office/officeart/2018/2/layout/IconLabelDescriptionList"/>
    <dgm:cxn modelId="{59CF6409-C5FB-4711-8C22-7BF0F001F586}" srcId="{AE362CFE-A4C7-476D-B0E3-D25063CEB3BA}" destId="{D30AF191-A793-46EA-ABA0-0E53BF56903F}" srcOrd="2" destOrd="0" parTransId="{25B84FE6-113B-4409-8E59-549122BA6997}" sibTransId="{2A155933-FD46-4B28-AA52-F643EDD767A2}"/>
    <dgm:cxn modelId="{7C30040A-8556-49EF-A78A-BD8EF3A251F8}" srcId="{AE362CFE-A4C7-476D-B0E3-D25063CEB3BA}" destId="{2AD43070-1BD6-4BE6-BF25-2153C5F91FA4}" srcOrd="0" destOrd="0" parTransId="{AA972B3D-8B3B-4CC5-B4A1-56901899D6E6}" sibTransId="{4617F8E2-D230-4CE7-B9A6-CABF1355CBF3}"/>
    <dgm:cxn modelId="{00F52625-C71B-49B5-9EE7-21A1D0F3D522}" type="presOf" srcId="{2AD43070-1BD6-4BE6-BF25-2153C5F91FA4}" destId="{E01AF4E3-C3DF-4CDA-9A0E-E2C96BB112DB}" srcOrd="0" destOrd="0" presId="urn:microsoft.com/office/officeart/2018/2/layout/IconLabelDescriptionList"/>
    <dgm:cxn modelId="{5B35022F-3866-4BA0-8BD1-19A0A0FF3C3B}" type="presOf" srcId="{AE362CFE-A4C7-476D-B0E3-D25063CEB3BA}" destId="{AD2A6C6E-922B-402A-AA0B-16D5B2395C0F}" srcOrd="0" destOrd="0" presId="urn:microsoft.com/office/officeart/2018/2/layout/IconLabelDescriptionList"/>
    <dgm:cxn modelId="{4F322C8C-6398-43CE-B4B9-C0F54A17F3C0}" type="presOf" srcId="{22469C17-9CF8-4DDA-BC68-D605923ED89D}" destId="{15FF9F7B-DA85-47D0-AFD8-6D151664A950}" srcOrd="0" destOrd="0" presId="urn:microsoft.com/office/officeart/2018/2/layout/IconLabelDescriptionList"/>
    <dgm:cxn modelId="{82AB4C9E-FCD7-4C21-B8A9-C46A9065BB88}" srcId="{AE362CFE-A4C7-476D-B0E3-D25063CEB3BA}" destId="{22469C17-9CF8-4DDA-BC68-D605923ED89D}" srcOrd="1" destOrd="0" parTransId="{57B3AB67-5F36-49FE-B835-B085007AB815}" sibTransId="{8CC10EE9-B5F0-453A-A595-095AC2304C00}"/>
    <dgm:cxn modelId="{49FE9EA7-C1E8-44E7-A497-D7CC70D33EF1}" srcId="{6AF2BD81-084B-458C-BF4E-C8106D17EB38}" destId="{A2B09DF8-0E44-45C0-9964-37929661D617}" srcOrd="0" destOrd="0" parTransId="{F2CCCADC-AD86-4574-AFCD-ACC32FB96FE9}" sibTransId="{91A1D25F-7C9A-4CFE-B33E-37A6FE039EE6}"/>
    <dgm:cxn modelId="{CAB2B3B5-D84F-492D-88F2-A5BD44945EC9}" srcId="{AE362CFE-A4C7-476D-B0E3-D25063CEB3BA}" destId="{6AF2BD81-084B-458C-BF4E-C8106D17EB38}" srcOrd="3" destOrd="0" parTransId="{CA38C8D5-957E-4BB1-83B3-566C028EE1F7}" sibTransId="{1CD94DEB-BD70-4412-B6A9-861E162E12DC}"/>
    <dgm:cxn modelId="{6C3165CF-A7C5-42D7-AECC-57CE63B56372}" type="presOf" srcId="{6AF2BD81-084B-458C-BF4E-C8106D17EB38}" destId="{EC6BC617-00AD-49C8-9306-17103377A8B6}" srcOrd="0" destOrd="0" presId="urn:microsoft.com/office/officeart/2018/2/layout/IconLabelDescriptionList"/>
    <dgm:cxn modelId="{B91435FF-D282-4E73-AB0A-D83A14F01A1F}" type="presOf" srcId="{D30AF191-A793-46EA-ABA0-0E53BF56903F}" destId="{9BEBD7ED-74BE-42DB-ADFB-003F5EA8F0E7}" srcOrd="0" destOrd="0" presId="urn:microsoft.com/office/officeart/2018/2/layout/IconLabelDescriptionList"/>
    <dgm:cxn modelId="{E566399B-1F8A-408D-8BE4-AE0CE6FCE07E}" type="presParOf" srcId="{AD2A6C6E-922B-402A-AA0B-16D5B2395C0F}" destId="{E5133F65-B31D-44B6-9F99-D3CB80E541DB}" srcOrd="0" destOrd="0" presId="urn:microsoft.com/office/officeart/2018/2/layout/IconLabelDescriptionList"/>
    <dgm:cxn modelId="{01F85975-468B-4AF5-8E4E-812D9E75905B}" type="presParOf" srcId="{E5133F65-B31D-44B6-9F99-D3CB80E541DB}" destId="{90BCD6DF-54C9-4EE5-80E7-09475E359799}" srcOrd="0" destOrd="0" presId="urn:microsoft.com/office/officeart/2018/2/layout/IconLabelDescriptionList"/>
    <dgm:cxn modelId="{F805A9D6-CA48-48F7-BE98-2A02BEBB8867}" type="presParOf" srcId="{E5133F65-B31D-44B6-9F99-D3CB80E541DB}" destId="{F1FD7551-566D-4B22-B038-1DA277F70710}" srcOrd="1" destOrd="0" presId="urn:microsoft.com/office/officeart/2018/2/layout/IconLabelDescriptionList"/>
    <dgm:cxn modelId="{E04F74AA-9DE8-487D-BCB0-3C982B3DAC22}" type="presParOf" srcId="{E5133F65-B31D-44B6-9F99-D3CB80E541DB}" destId="{E01AF4E3-C3DF-4CDA-9A0E-E2C96BB112DB}" srcOrd="2" destOrd="0" presId="urn:microsoft.com/office/officeart/2018/2/layout/IconLabelDescriptionList"/>
    <dgm:cxn modelId="{71C646D0-9207-48A0-9910-706960CE1F61}" type="presParOf" srcId="{E5133F65-B31D-44B6-9F99-D3CB80E541DB}" destId="{290ABC06-49CF-4C83-93B9-5E38AF582A97}" srcOrd="3" destOrd="0" presId="urn:microsoft.com/office/officeart/2018/2/layout/IconLabelDescriptionList"/>
    <dgm:cxn modelId="{66084DAD-49A9-43E8-AEAD-2C0B410C03FE}" type="presParOf" srcId="{E5133F65-B31D-44B6-9F99-D3CB80E541DB}" destId="{B50F7F0E-186D-499E-A8EF-9E0E49A0DAE5}" srcOrd="4" destOrd="0" presId="urn:microsoft.com/office/officeart/2018/2/layout/IconLabelDescriptionList"/>
    <dgm:cxn modelId="{D472C53A-62F9-4482-8650-D589F81DC0FD}" type="presParOf" srcId="{AD2A6C6E-922B-402A-AA0B-16D5B2395C0F}" destId="{F26E66C6-6F24-4812-9983-FE6494BCA594}" srcOrd="1" destOrd="0" presId="urn:microsoft.com/office/officeart/2018/2/layout/IconLabelDescriptionList"/>
    <dgm:cxn modelId="{CB5D64AA-C643-423A-8538-FE2DFEC98236}" type="presParOf" srcId="{AD2A6C6E-922B-402A-AA0B-16D5B2395C0F}" destId="{F95E414C-8FB1-4611-9291-1068C64AC3A0}" srcOrd="2" destOrd="0" presId="urn:microsoft.com/office/officeart/2018/2/layout/IconLabelDescriptionList"/>
    <dgm:cxn modelId="{E62D7D9D-7298-40D6-B8C7-278E17687CFC}" type="presParOf" srcId="{F95E414C-8FB1-4611-9291-1068C64AC3A0}" destId="{C9494950-645C-49AF-B6A8-EF6F3A6F088A}" srcOrd="0" destOrd="0" presId="urn:microsoft.com/office/officeart/2018/2/layout/IconLabelDescriptionList"/>
    <dgm:cxn modelId="{C93F704B-5C0A-4F14-8F48-4CD1A6DAA719}" type="presParOf" srcId="{F95E414C-8FB1-4611-9291-1068C64AC3A0}" destId="{100933A0-04F3-4EE3-882D-EE6C6A40C690}" srcOrd="1" destOrd="0" presId="urn:microsoft.com/office/officeart/2018/2/layout/IconLabelDescriptionList"/>
    <dgm:cxn modelId="{D0CFCD96-DB07-44D5-87FA-F81BD0A56CD1}" type="presParOf" srcId="{F95E414C-8FB1-4611-9291-1068C64AC3A0}" destId="{15FF9F7B-DA85-47D0-AFD8-6D151664A950}" srcOrd="2" destOrd="0" presId="urn:microsoft.com/office/officeart/2018/2/layout/IconLabelDescriptionList"/>
    <dgm:cxn modelId="{37826F87-15F0-4099-AD37-5965DB2F8448}" type="presParOf" srcId="{F95E414C-8FB1-4611-9291-1068C64AC3A0}" destId="{A2113851-9338-4A09-8F4A-8031B3BE9EA6}" srcOrd="3" destOrd="0" presId="urn:microsoft.com/office/officeart/2018/2/layout/IconLabelDescriptionList"/>
    <dgm:cxn modelId="{19ABED2D-7A8D-4200-BEBB-EBB0BA4BC7C6}" type="presParOf" srcId="{F95E414C-8FB1-4611-9291-1068C64AC3A0}" destId="{3883A120-136F-4C5F-9FB3-BF23F69F1E05}" srcOrd="4" destOrd="0" presId="urn:microsoft.com/office/officeart/2018/2/layout/IconLabelDescriptionList"/>
    <dgm:cxn modelId="{FE5A08E0-B052-4854-BDC3-34AF3A0E44B1}" type="presParOf" srcId="{AD2A6C6E-922B-402A-AA0B-16D5B2395C0F}" destId="{3387BEF5-7E0C-4B5F-8599-8B46E5E88D70}" srcOrd="3" destOrd="0" presId="urn:microsoft.com/office/officeart/2018/2/layout/IconLabelDescriptionList"/>
    <dgm:cxn modelId="{BAD08655-7443-43EF-929A-25C4F7F3D2B4}" type="presParOf" srcId="{AD2A6C6E-922B-402A-AA0B-16D5B2395C0F}" destId="{01BE63BF-CB44-4AC0-AE92-E93375B59888}" srcOrd="4" destOrd="0" presId="urn:microsoft.com/office/officeart/2018/2/layout/IconLabelDescriptionList"/>
    <dgm:cxn modelId="{9618A9C0-8E64-4705-8A95-7AAAE0B5DF98}" type="presParOf" srcId="{01BE63BF-CB44-4AC0-AE92-E93375B59888}" destId="{F4EF9E7D-5DEF-4B0E-90FF-3B23796D6C5F}" srcOrd="0" destOrd="0" presId="urn:microsoft.com/office/officeart/2018/2/layout/IconLabelDescriptionList"/>
    <dgm:cxn modelId="{4E722491-A177-4B71-A0F1-0409E286C702}" type="presParOf" srcId="{01BE63BF-CB44-4AC0-AE92-E93375B59888}" destId="{6A2103B6-B4EE-4E4B-BDF3-95E2EB37F300}" srcOrd="1" destOrd="0" presId="urn:microsoft.com/office/officeart/2018/2/layout/IconLabelDescriptionList"/>
    <dgm:cxn modelId="{06A745B8-0679-42CC-8E1A-8D699D6CE5BC}" type="presParOf" srcId="{01BE63BF-CB44-4AC0-AE92-E93375B59888}" destId="{9BEBD7ED-74BE-42DB-ADFB-003F5EA8F0E7}" srcOrd="2" destOrd="0" presId="urn:microsoft.com/office/officeart/2018/2/layout/IconLabelDescriptionList"/>
    <dgm:cxn modelId="{10AAAD9A-B5D4-4C4B-A633-8F71BA139CB0}" type="presParOf" srcId="{01BE63BF-CB44-4AC0-AE92-E93375B59888}" destId="{7E3EDF70-61B6-4971-BE48-D5D1C3A53B44}" srcOrd="3" destOrd="0" presId="urn:microsoft.com/office/officeart/2018/2/layout/IconLabelDescriptionList"/>
    <dgm:cxn modelId="{25FC0CF1-32C4-49C6-BB5B-8A7B33FD50CD}" type="presParOf" srcId="{01BE63BF-CB44-4AC0-AE92-E93375B59888}" destId="{3AED30B6-EA2B-4B63-82CE-16DF815C4B19}" srcOrd="4" destOrd="0" presId="urn:microsoft.com/office/officeart/2018/2/layout/IconLabelDescriptionList"/>
    <dgm:cxn modelId="{134A7DA7-E51F-4082-88BF-593F0C4424FE}" type="presParOf" srcId="{AD2A6C6E-922B-402A-AA0B-16D5B2395C0F}" destId="{B198DCA8-AA71-4487-A10F-4F04B7ABF8F0}" srcOrd="5" destOrd="0" presId="urn:microsoft.com/office/officeart/2018/2/layout/IconLabelDescriptionList"/>
    <dgm:cxn modelId="{A3E4CAD6-3EF0-408B-A293-4F51FFF7458E}" type="presParOf" srcId="{AD2A6C6E-922B-402A-AA0B-16D5B2395C0F}" destId="{1B033816-087E-467A-987E-6DF28D3EF3A8}" srcOrd="6" destOrd="0" presId="urn:microsoft.com/office/officeart/2018/2/layout/IconLabelDescriptionList"/>
    <dgm:cxn modelId="{816C5D0B-FA02-4BC9-86BD-319D60C2F7E1}" type="presParOf" srcId="{1B033816-087E-467A-987E-6DF28D3EF3A8}" destId="{02B06133-76B9-4E41-A9C0-281EA8869FE3}" srcOrd="0" destOrd="0" presId="urn:microsoft.com/office/officeart/2018/2/layout/IconLabelDescriptionList"/>
    <dgm:cxn modelId="{1A3544E1-B3D7-42B5-B840-AF3F7EE9FBB0}" type="presParOf" srcId="{1B033816-087E-467A-987E-6DF28D3EF3A8}" destId="{EEADE795-90A7-4458-B076-233A0E0AF6DB}" srcOrd="1" destOrd="0" presId="urn:microsoft.com/office/officeart/2018/2/layout/IconLabelDescriptionList"/>
    <dgm:cxn modelId="{82089E77-1D9B-489A-AA9A-50E1564A71B8}" type="presParOf" srcId="{1B033816-087E-467A-987E-6DF28D3EF3A8}" destId="{EC6BC617-00AD-49C8-9306-17103377A8B6}" srcOrd="2" destOrd="0" presId="urn:microsoft.com/office/officeart/2018/2/layout/IconLabelDescriptionList"/>
    <dgm:cxn modelId="{348EBA0B-01EC-4A2C-B2DA-936E8D340877}" type="presParOf" srcId="{1B033816-087E-467A-987E-6DF28D3EF3A8}" destId="{28351A58-6FEB-4565-8FCF-3B9B72919391}" srcOrd="3" destOrd="0" presId="urn:microsoft.com/office/officeart/2018/2/layout/IconLabelDescriptionList"/>
    <dgm:cxn modelId="{0A103B6F-D4E6-4081-B1ED-439542222B7C}" type="presParOf" srcId="{1B033816-087E-467A-987E-6DF28D3EF3A8}" destId="{0C9A9B3A-792F-42EC-82C7-99433263FF38}"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8FFFF7B-D3BC-473F-9975-941FD4E2E9D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6792E90-04A2-4646-90BD-7979B9CD3472}">
      <dgm:prSet/>
      <dgm:spPr/>
      <dgm:t>
        <a:bodyPr/>
        <a:lstStyle/>
        <a:p>
          <a:endParaRPr lang="en-US" dirty="0"/>
        </a:p>
        <a:p>
          <a:r>
            <a:rPr lang="en-US" dirty="0"/>
            <a:t>exercising, without the licence of the copyright owner, any of the exclusive rights of the copyright owner – reproducing, publishing, communicating a work to the public, making an adaptation of a work or performing a work in public</a:t>
          </a:r>
        </a:p>
      </dgm:t>
    </dgm:pt>
    <dgm:pt modelId="{A1E87A6A-D54A-418F-84C3-F5002CDEB72B}" type="parTrans" cxnId="{1DD95CC0-E685-4707-B186-78406011F3D1}">
      <dgm:prSet/>
      <dgm:spPr/>
      <dgm:t>
        <a:bodyPr/>
        <a:lstStyle/>
        <a:p>
          <a:endParaRPr lang="en-US"/>
        </a:p>
      </dgm:t>
    </dgm:pt>
    <dgm:pt modelId="{740034C4-4AE2-41A5-9AFD-E7015211A2DC}" type="sibTrans" cxnId="{1DD95CC0-E685-4707-B186-78406011F3D1}">
      <dgm:prSet/>
      <dgm:spPr/>
      <dgm:t>
        <a:bodyPr/>
        <a:lstStyle/>
        <a:p>
          <a:endParaRPr lang="en-US"/>
        </a:p>
      </dgm:t>
    </dgm:pt>
    <dgm:pt modelId="{98BAEEF7-149B-4402-995B-4F8326F1D396}">
      <dgm:prSet/>
      <dgm:spPr/>
      <dgm:t>
        <a:bodyPr/>
        <a:lstStyle/>
        <a:p>
          <a:endParaRPr lang="en-US" dirty="0"/>
        </a:p>
        <a:p>
          <a:r>
            <a:rPr lang="en-US" dirty="0"/>
            <a:t>OR </a:t>
          </a:r>
          <a:r>
            <a:rPr lang="en-US" b="1" dirty="0"/>
            <a:t>authorizing</a:t>
          </a:r>
          <a:r>
            <a:rPr lang="en-US" dirty="0"/>
            <a:t> the doing of any of the above </a:t>
          </a:r>
        </a:p>
      </dgm:t>
    </dgm:pt>
    <dgm:pt modelId="{E322AB46-9EC9-443E-9F7A-40F4897012FB}" type="parTrans" cxnId="{2DE9A3B4-B3BF-4B8A-AA59-4D493CA31A20}">
      <dgm:prSet/>
      <dgm:spPr/>
      <dgm:t>
        <a:bodyPr/>
        <a:lstStyle/>
        <a:p>
          <a:endParaRPr lang="en-US"/>
        </a:p>
      </dgm:t>
    </dgm:pt>
    <dgm:pt modelId="{6767DE4F-2FA0-4B37-A1E1-FF6F16ED28A3}" type="sibTrans" cxnId="{2DE9A3B4-B3BF-4B8A-AA59-4D493CA31A20}">
      <dgm:prSet/>
      <dgm:spPr/>
      <dgm:t>
        <a:bodyPr/>
        <a:lstStyle/>
        <a:p>
          <a:endParaRPr lang="en-US"/>
        </a:p>
      </dgm:t>
    </dgm:pt>
    <dgm:pt modelId="{55944C5A-D38D-472E-8D1E-6217BD6288FE}">
      <dgm:prSet/>
      <dgm:spPr/>
      <dgm:t>
        <a:bodyPr/>
        <a:lstStyle/>
        <a:p>
          <a:endParaRPr lang="en-US" dirty="0"/>
        </a:p>
        <a:p>
          <a:r>
            <a:rPr lang="en-US" dirty="0"/>
            <a:t>AND you don’t need to reproduce the whole of a work to infringe copyright – you only need to reproduce/communicate a (qualitatively) </a:t>
          </a:r>
          <a:r>
            <a:rPr lang="en-US" b="1" dirty="0"/>
            <a:t>substantial part </a:t>
          </a:r>
          <a:r>
            <a:rPr lang="en-US" dirty="0"/>
            <a:t>of the work</a:t>
          </a:r>
        </a:p>
      </dgm:t>
    </dgm:pt>
    <dgm:pt modelId="{014E61F0-C31D-4179-BE8F-4767BD9EE331}" type="parTrans" cxnId="{38912B03-08E0-4D2D-82AE-64A7EB5B6BF3}">
      <dgm:prSet/>
      <dgm:spPr/>
      <dgm:t>
        <a:bodyPr/>
        <a:lstStyle/>
        <a:p>
          <a:endParaRPr lang="en-US"/>
        </a:p>
      </dgm:t>
    </dgm:pt>
    <dgm:pt modelId="{2D8EAC54-DFF5-4DAA-8F5C-5937E55349AC}" type="sibTrans" cxnId="{38912B03-08E0-4D2D-82AE-64A7EB5B6BF3}">
      <dgm:prSet/>
      <dgm:spPr/>
      <dgm:t>
        <a:bodyPr/>
        <a:lstStyle/>
        <a:p>
          <a:endParaRPr lang="en-US"/>
        </a:p>
      </dgm:t>
    </dgm:pt>
    <dgm:pt modelId="{C4933467-C66A-4E9B-9FB9-EF51D84F2E38}" type="pres">
      <dgm:prSet presAssocID="{D8FFFF7B-D3BC-473F-9975-941FD4E2E9DA}" presName="vert0" presStyleCnt="0">
        <dgm:presLayoutVars>
          <dgm:dir/>
          <dgm:animOne val="branch"/>
          <dgm:animLvl val="lvl"/>
        </dgm:presLayoutVars>
      </dgm:prSet>
      <dgm:spPr/>
    </dgm:pt>
    <dgm:pt modelId="{D69CA44A-F37F-48DC-BE9F-9D41E181CE07}" type="pres">
      <dgm:prSet presAssocID="{F6792E90-04A2-4646-90BD-7979B9CD3472}" presName="thickLine" presStyleLbl="alignNode1" presStyleIdx="0" presStyleCnt="3"/>
      <dgm:spPr/>
    </dgm:pt>
    <dgm:pt modelId="{71C9DFD3-712C-4DBF-8D10-934AB6929996}" type="pres">
      <dgm:prSet presAssocID="{F6792E90-04A2-4646-90BD-7979B9CD3472}" presName="horz1" presStyleCnt="0"/>
      <dgm:spPr/>
    </dgm:pt>
    <dgm:pt modelId="{5BF75095-866E-448D-A194-E421D9456A95}" type="pres">
      <dgm:prSet presAssocID="{F6792E90-04A2-4646-90BD-7979B9CD3472}" presName="tx1" presStyleLbl="revTx" presStyleIdx="0" presStyleCnt="3"/>
      <dgm:spPr/>
    </dgm:pt>
    <dgm:pt modelId="{CA4CB2E4-3235-45E1-B414-0587F3B2ABC9}" type="pres">
      <dgm:prSet presAssocID="{F6792E90-04A2-4646-90BD-7979B9CD3472}" presName="vert1" presStyleCnt="0"/>
      <dgm:spPr/>
    </dgm:pt>
    <dgm:pt modelId="{F7132C7E-9ABB-4CAC-AF9E-A1A00E6986F7}" type="pres">
      <dgm:prSet presAssocID="{98BAEEF7-149B-4402-995B-4F8326F1D396}" presName="thickLine" presStyleLbl="alignNode1" presStyleIdx="1" presStyleCnt="3"/>
      <dgm:spPr/>
    </dgm:pt>
    <dgm:pt modelId="{458F320F-CD1D-436E-9D36-E9A62AD43563}" type="pres">
      <dgm:prSet presAssocID="{98BAEEF7-149B-4402-995B-4F8326F1D396}" presName="horz1" presStyleCnt="0"/>
      <dgm:spPr/>
    </dgm:pt>
    <dgm:pt modelId="{8ECB8C84-337D-4CDA-8155-94A787C2402F}" type="pres">
      <dgm:prSet presAssocID="{98BAEEF7-149B-4402-995B-4F8326F1D396}" presName="tx1" presStyleLbl="revTx" presStyleIdx="1" presStyleCnt="3"/>
      <dgm:spPr/>
    </dgm:pt>
    <dgm:pt modelId="{FCBAE63E-26ED-49C2-9CE1-883F97A743A9}" type="pres">
      <dgm:prSet presAssocID="{98BAEEF7-149B-4402-995B-4F8326F1D396}" presName="vert1" presStyleCnt="0"/>
      <dgm:spPr/>
    </dgm:pt>
    <dgm:pt modelId="{D3CF9A76-85C3-4F53-8562-0427EC2F2367}" type="pres">
      <dgm:prSet presAssocID="{55944C5A-D38D-472E-8D1E-6217BD6288FE}" presName="thickLine" presStyleLbl="alignNode1" presStyleIdx="2" presStyleCnt="3"/>
      <dgm:spPr/>
    </dgm:pt>
    <dgm:pt modelId="{38F01028-D6C1-4168-8ADB-D8828C8B1296}" type="pres">
      <dgm:prSet presAssocID="{55944C5A-D38D-472E-8D1E-6217BD6288FE}" presName="horz1" presStyleCnt="0"/>
      <dgm:spPr/>
    </dgm:pt>
    <dgm:pt modelId="{A075BD96-E18E-4CAC-9CAD-90277C9A3EAF}" type="pres">
      <dgm:prSet presAssocID="{55944C5A-D38D-472E-8D1E-6217BD6288FE}" presName="tx1" presStyleLbl="revTx" presStyleIdx="2" presStyleCnt="3"/>
      <dgm:spPr/>
    </dgm:pt>
    <dgm:pt modelId="{08E10847-0B33-4760-8D1D-6CEDBB93241A}" type="pres">
      <dgm:prSet presAssocID="{55944C5A-D38D-472E-8D1E-6217BD6288FE}" presName="vert1" presStyleCnt="0"/>
      <dgm:spPr/>
    </dgm:pt>
  </dgm:ptLst>
  <dgm:cxnLst>
    <dgm:cxn modelId="{38912B03-08E0-4D2D-82AE-64A7EB5B6BF3}" srcId="{D8FFFF7B-D3BC-473F-9975-941FD4E2E9DA}" destId="{55944C5A-D38D-472E-8D1E-6217BD6288FE}" srcOrd="2" destOrd="0" parTransId="{014E61F0-C31D-4179-BE8F-4767BD9EE331}" sibTransId="{2D8EAC54-DFF5-4DAA-8F5C-5937E55349AC}"/>
    <dgm:cxn modelId="{3CE30625-AF1D-4F2E-9CDF-71C49F8FEE3F}" type="presOf" srcId="{F6792E90-04A2-4646-90BD-7979B9CD3472}" destId="{5BF75095-866E-448D-A194-E421D9456A95}" srcOrd="0" destOrd="0" presId="urn:microsoft.com/office/officeart/2008/layout/LinedList"/>
    <dgm:cxn modelId="{12AF1637-D397-4E27-9D74-FBB3E2AC5364}" type="presOf" srcId="{55944C5A-D38D-472E-8D1E-6217BD6288FE}" destId="{A075BD96-E18E-4CAC-9CAD-90277C9A3EAF}" srcOrd="0" destOrd="0" presId="urn:microsoft.com/office/officeart/2008/layout/LinedList"/>
    <dgm:cxn modelId="{0AFFBF39-2D31-4418-AA17-E6DD377B1455}" type="presOf" srcId="{98BAEEF7-149B-4402-995B-4F8326F1D396}" destId="{8ECB8C84-337D-4CDA-8155-94A787C2402F}" srcOrd="0" destOrd="0" presId="urn:microsoft.com/office/officeart/2008/layout/LinedList"/>
    <dgm:cxn modelId="{14739588-7CE1-4FF5-BAEB-FC7FE059B0CD}" type="presOf" srcId="{D8FFFF7B-D3BC-473F-9975-941FD4E2E9DA}" destId="{C4933467-C66A-4E9B-9FB9-EF51D84F2E38}" srcOrd="0" destOrd="0" presId="urn:microsoft.com/office/officeart/2008/layout/LinedList"/>
    <dgm:cxn modelId="{2DE9A3B4-B3BF-4B8A-AA59-4D493CA31A20}" srcId="{D8FFFF7B-D3BC-473F-9975-941FD4E2E9DA}" destId="{98BAEEF7-149B-4402-995B-4F8326F1D396}" srcOrd="1" destOrd="0" parTransId="{E322AB46-9EC9-443E-9F7A-40F4897012FB}" sibTransId="{6767DE4F-2FA0-4B37-A1E1-FF6F16ED28A3}"/>
    <dgm:cxn modelId="{1DD95CC0-E685-4707-B186-78406011F3D1}" srcId="{D8FFFF7B-D3BC-473F-9975-941FD4E2E9DA}" destId="{F6792E90-04A2-4646-90BD-7979B9CD3472}" srcOrd="0" destOrd="0" parTransId="{A1E87A6A-D54A-418F-84C3-F5002CDEB72B}" sibTransId="{740034C4-4AE2-41A5-9AFD-E7015211A2DC}"/>
    <dgm:cxn modelId="{62014304-8396-4C4D-BD51-1F4306338158}" type="presParOf" srcId="{C4933467-C66A-4E9B-9FB9-EF51D84F2E38}" destId="{D69CA44A-F37F-48DC-BE9F-9D41E181CE07}" srcOrd="0" destOrd="0" presId="urn:microsoft.com/office/officeart/2008/layout/LinedList"/>
    <dgm:cxn modelId="{792B99F1-2D3F-45B5-92E3-E6FAC824E3A0}" type="presParOf" srcId="{C4933467-C66A-4E9B-9FB9-EF51D84F2E38}" destId="{71C9DFD3-712C-4DBF-8D10-934AB6929996}" srcOrd="1" destOrd="0" presId="urn:microsoft.com/office/officeart/2008/layout/LinedList"/>
    <dgm:cxn modelId="{960A6583-5633-4990-A6B4-92E30E2432E3}" type="presParOf" srcId="{71C9DFD3-712C-4DBF-8D10-934AB6929996}" destId="{5BF75095-866E-448D-A194-E421D9456A95}" srcOrd="0" destOrd="0" presId="urn:microsoft.com/office/officeart/2008/layout/LinedList"/>
    <dgm:cxn modelId="{A1BEF4FA-857F-4C53-AC01-7A4B096E0658}" type="presParOf" srcId="{71C9DFD3-712C-4DBF-8D10-934AB6929996}" destId="{CA4CB2E4-3235-45E1-B414-0587F3B2ABC9}" srcOrd="1" destOrd="0" presId="urn:microsoft.com/office/officeart/2008/layout/LinedList"/>
    <dgm:cxn modelId="{46F0733D-8CC7-4B9A-847D-934673E6D729}" type="presParOf" srcId="{C4933467-C66A-4E9B-9FB9-EF51D84F2E38}" destId="{F7132C7E-9ABB-4CAC-AF9E-A1A00E6986F7}" srcOrd="2" destOrd="0" presId="urn:microsoft.com/office/officeart/2008/layout/LinedList"/>
    <dgm:cxn modelId="{B6EBCC90-3EE9-48FB-A82D-6981A2B23871}" type="presParOf" srcId="{C4933467-C66A-4E9B-9FB9-EF51D84F2E38}" destId="{458F320F-CD1D-436E-9D36-E9A62AD43563}" srcOrd="3" destOrd="0" presId="urn:microsoft.com/office/officeart/2008/layout/LinedList"/>
    <dgm:cxn modelId="{494CDE09-0546-4B0E-96DA-228CC679C6DC}" type="presParOf" srcId="{458F320F-CD1D-436E-9D36-E9A62AD43563}" destId="{8ECB8C84-337D-4CDA-8155-94A787C2402F}" srcOrd="0" destOrd="0" presId="urn:microsoft.com/office/officeart/2008/layout/LinedList"/>
    <dgm:cxn modelId="{E2EF1A7E-9614-43F0-8D84-124E9DB37D50}" type="presParOf" srcId="{458F320F-CD1D-436E-9D36-E9A62AD43563}" destId="{FCBAE63E-26ED-49C2-9CE1-883F97A743A9}" srcOrd="1" destOrd="0" presId="urn:microsoft.com/office/officeart/2008/layout/LinedList"/>
    <dgm:cxn modelId="{D11D8BF0-3578-4758-8125-1D5471F7A117}" type="presParOf" srcId="{C4933467-C66A-4E9B-9FB9-EF51D84F2E38}" destId="{D3CF9A76-85C3-4F53-8562-0427EC2F2367}" srcOrd="4" destOrd="0" presId="urn:microsoft.com/office/officeart/2008/layout/LinedList"/>
    <dgm:cxn modelId="{AA40F6AB-18D3-4AD0-A46A-EAADF54897F5}" type="presParOf" srcId="{C4933467-C66A-4E9B-9FB9-EF51D84F2E38}" destId="{38F01028-D6C1-4168-8ADB-D8828C8B1296}" srcOrd="5" destOrd="0" presId="urn:microsoft.com/office/officeart/2008/layout/LinedList"/>
    <dgm:cxn modelId="{8F4A9CE4-478D-4E28-9D1A-091E26B15D67}" type="presParOf" srcId="{38F01028-D6C1-4168-8ADB-D8828C8B1296}" destId="{A075BD96-E18E-4CAC-9CAD-90277C9A3EAF}" srcOrd="0" destOrd="0" presId="urn:microsoft.com/office/officeart/2008/layout/LinedList"/>
    <dgm:cxn modelId="{21E766D2-4E3B-41B0-821E-C3797EC3CBFC}" type="presParOf" srcId="{38F01028-D6C1-4168-8ADB-D8828C8B1296}" destId="{08E10847-0B33-4760-8D1D-6CEDBB93241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249437B-BD16-423B-9717-214B23929C1A}"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E9778E3B-A6E1-43A1-91EE-845EA6BB9E93}">
      <dgm:prSet/>
      <dgm:spPr/>
      <dgm:t>
        <a:bodyPr/>
        <a:lstStyle/>
        <a:p>
          <a:r>
            <a:rPr lang="en-US"/>
            <a:t>(a) the extent (if any) of the person’s power to prevent the doing of the act concerned</a:t>
          </a:r>
        </a:p>
      </dgm:t>
    </dgm:pt>
    <dgm:pt modelId="{C677839E-9E39-488B-8EB0-0FD044BE21FC}" type="parTrans" cxnId="{B277CA3F-EF3E-431D-8239-FB96229FCAFA}">
      <dgm:prSet/>
      <dgm:spPr/>
      <dgm:t>
        <a:bodyPr/>
        <a:lstStyle/>
        <a:p>
          <a:endParaRPr lang="en-US"/>
        </a:p>
      </dgm:t>
    </dgm:pt>
    <dgm:pt modelId="{D2174A0D-F9C6-41FD-B868-8E0983C41744}" type="sibTrans" cxnId="{B277CA3F-EF3E-431D-8239-FB96229FCAFA}">
      <dgm:prSet/>
      <dgm:spPr/>
      <dgm:t>
        <a:bodyPr/>
        <a:lstStyle/>
        <a:p>
          <a:endParaRPr lang="en-US"/>
        </a:p>
      </dgm:t>
    </dgm:pt>
    <dgm:pt modelId="{D4D7A22B-AD7C-4D7B-9607-4EECAD2D1BF2}">
      <dgm:prSet/>
      <dgm:spPr/>
      <dgm:t>
        <a:bodyPr/>
        <a:lstStyle/>
        <a:p>
          <a:r>
            <a:rPr lang="en-US"/>
            <a:t>(b) the nature of any relationship existing between the person and the person who did the act concerned</a:t>
          </a:r>
        </a:p>
      </dgm:t>
    </dgm:pt>
    <dgm:pt modelId="{198EE51A-CDAE-4E66-BF6E-80B179BA5A35}" type="parTrans" cxnId="{45EA902A-326C-4B01-BD25-F7AC2C5E9FAF}">
      <dgm:prSet/>
      <dgm:spPr/>
      <dgm:t>
        <a:bodyPr/>
        <a:lstStyle/>
        <a:p>
          <a:endParaRPr lang="en-US"/>
        </a:p>
      </dgm:t>
    </dgm:pt>
    <dgm:pt modelId="{2EA63A4F-F798-4F11-AF61-810D553DC743}" type="sibTrans" cxnId="{45EA902A-326C-4B01-BD25-F7AC2C5E9FAF}">
      <dgm:prSet/>
      <dgm:spPr/>
      <dgm:t>
        <a:bodyPr/>
        <a:lstStyle/>
        <a:p>
          <a:endParaRPr lang="en-US"/>
        </a:p>
      </dgm:t>
    </dgm:pt>
    <dgm:pt modelId="{AEB6C92C-1076-412C-9F55-3B621F26272A}">
      <dgm:prSet/>
      <dgm:spPr/>
      <dgm:t>
        <a:bodyPr/>
        <a:lstStyle/>
        <a:p>
          <a:r>
            <a:rPr lang="en-US"/>
            <a:t>(c) whether the person took any reasonable steps to prevent or avoid the doing of the act, including whether the person complied with any relevant industry codes of practice</a:t>
          </a:r>
        </a:p>
      </dgm:t>
    </dgm:pt>
    <dgm:pt modelId="{E002FD95-48D4-4C94-9205-63096ED2FCD2}" type="parTrans" cxnId="{42133A8A-E42E-409B-8ADE-8AC354089D1D}">
      <dgm:prSet/>
      <dgm:spPr/>
      <dgm:t>
        <a:bodyPr/>
        <a:lstStyle/>
        <a:p>
          <a:endParaRPr lang="en-US"/>
        </a:p>
      </dgm:t>
    </dgm:pt>
    <dgm:pt modelId="{3AE5F68A-20A0-456F-8154-EDD62BEC0C4B}" type="sibTrans" cxnId="{42133A8A-E42E-409B-8ADE-8AC354089D1D}">
      <dgm:prSet/>
      <dgm:spPr/>
      <dgm:t>
        <a:bodyPr/>
        <a:lstStyle/>
        <a:p>
          <a:endParaRPr lang="en-US"/>
        </a:p>
      </dgm:t>
    </dgm:pt>
    <dgm:pt modelId="{BD9F822A-9E12-454E-AE13-1D8692282B7C}" type="pres">
      <dgm:prSet presAssocID="{6249437B-BD16-423B-9717-214B23929C1A}" presName="vert0" presStyleCnt="0">
        <dgm:presLayoutVars>
          <dgm:dir/>
          <dgm:animOne val="branch"/>
          <dgm:animLvl val="lvl"/>
        </dgm:presLayoutVars>
      </dgm:prSet>
      <dgm:spPr/>
    </dgm:pt>
    <dgm:pt modelId="{9DFCA261-0657-42C1-B68D-EA14F2700AFC}" type="pres">
      <dgm:prSet presAssocID="{E9778E3B-A6E1-43A1-91EE-845EA6BB9E93}" presName="thickLine" presStyleLbl="alignNode1" presStyleIdx="0" presStyleCnt="3"/>
      <dgm:spPr/>
    </dgm:pt>
    <dgm:pt modelId="{62C8C84D-4070-470C-8812-F7BE1F18DCD3}" type="pres">
      <dgm:prSet presAssocID="{E9778E3B-A6E1-43A1-91EE-845EA6BB9E93}" presName="horz1" presStyleCnt="0"/>
      <dgm:spPr/>
    </dgm:pt>
    <dgm:pt modelId="{5A9DA13B-20BA-459E-8BC9-BDB26B3E9E67}" type="pres">
      <dgm:prSet presAssocID="{E9778E3B-A6E1-43A1-91EE-845EA6BB9E93}" presName="tx1" presStyleLbl="revTx" presStyleIdx="0" presStyleCnt="3"/>
      <dgm:spPr/>
    </dgm:pt>
    <dgm:pt modelId="{8AC33929-5CFF-4E27-B4AE-1C8BC13D4C18}" type="pres">
      <dgm:prSet presAssocID="{E9778E3B-A6E1-43A1-91EE-845EA6BB9E93}" presName="vert1" presStyleCnt="0"/>
      <dgm:spPr/>
    </dgm:pt>
    <dgm:pt modelId="{871160B3-F427-4C6D-AF40-2C7AF8AF6716}" type="pres">
      <dgm:prSet presAssocID="{D4D7A22B-AD7C-4D7B-9607-4EECAD2D1BF2}" presName="thickLine" presStyleLbl="alignNode1" presStyleIdx="1" presStyleCnt="3"/>
      <dgm:spPr/>
    </dgm:pt>
    <dgm:pt modelId="{0989738E-C4D3-4E9C-AC10-96BF1AC569E7}" type="pres">
      <dgm:prSet presAssocID="{D4D7A22B-AD7C-4D7B-9607-4EECAD2D1BF2}" presName="horz1" presStyleCnt="0"/>
      <dgm:spPr/>
    </dgm:pt>
    <dgm:pt modelId="{58CDE40F-B8FF-4B61-BE37-8DBA00BD43AF}" type="pres">
      <dgm:prSet presAssocID="{D4D7A22B-AD7C-4D7B-9607-4EECAD2D1BF2}" presName="tx1" presStyleLbl="revTx" presStyleIdx="1" presStyleCnt="3"/>
      <dgm:spPr/>
    </dgm:pt>
    <dgm:pt modelId="{C04B9667-0058-4F3B-82D6-9AC08DF8DC7D}" type="pres">
      <dgm:prSet presAssocID="{D4D7A22B-AD7C-4D7B-9607-4EECAD2D1BF2}" presName="vert1" presStyleCnt="0"/>
      <dgm:spPr/>
    </dgm:pt>
    <dgm:pt modelId="{3BE9A442-802D-48B4-9B50-9315C1A9CCB6}" type="pres">
      <dgm:prSet presAssocID="{AEB6C92C-1076-412C-9F55-3B621F26272A}" presName="thickLine" presStyleLbl="alignNode1" presStyleIdx="2" presStyleCnt="3"/>
      <dgm:spPr/>
    </dgm:pt>
    <dgm:pt modelId="{24490D81-2839-457C-824E-B71E57B60AA0}" type="pres">
      <dgm:prSet presAssocID="{AEB6C92C-1076-412C-9F55-3B621F26272A}" presName="horz1" presStyleCnt="0"/>
      <dgm:spPr/>
    </dgm:pt>
    <dgm:pt modelId="{CC563165-7DFD-40FD-8901-132CCBC830D5}" type="pres">
      <dgm:prSet presAssocID="{AEB6C92C-1076-412C-9F55-3B621F26272A}" presName="tx1" presStyleLbl="revTx" presStyleIdx="2" presStyleCnt="3"/>
      <dgm:spPr/>
    </dgm:pt>
    <dgm:pt modelId="{0FE6AED3-1F5E-4804-8DBE-3C7100448176}" type="pres">
      <dgm:prSet presAssocID="{AEB6C92C-1076-412C-9F55-3B621F26272A}" presName="vert1" presStyleCnt="0"/>
      <dgm:spPr/>
    </dgm:pt>
  </dgm:ptLst>
  <dgm:cxnLst>
    <dgm:cxn modelId="{45EA902A-326C-4B01-BD25-F7AC2C5E9FAF}" srcId="{6249437B-BD16-423B-9717-214B23929C1A}" destId="{D4D7A22B-AD7C-4D7B-9607-4EECAD2D1BF2}" srcOrd="1" destOrd="0" parTransId="{198EE51A-CDAE-4E66-BF6E-80B179BA5A35}" sibTransId="{2EA63A4F-F798-4F11-AF61-810D553DC743}"/>
    <dgm:cxn modelId="{4A4B663A-9577-4D11-BA8E-17D62C7DEE80}" type="presOf" srcId="{6249437B-BD16-423B-9717-214B23929C1A}" destId="{BD9F822A-9E12-454E-AE13-1D8692282B7C}" srcOrd="0" destOrd="0" presId="urn:microsoft.com/office/officeart/2008/layout/LinedList"/>
    <dgm:cxn modelId="{B277CA3F-EF3E-431D-8239-FB96229FCAFA}" srcId="{6249437B-BD16-423B-9717-214B23929C1A}" destId="{E9778E3B-A6E1-43A1-91EE-845EA6BB9E93}" srcOrd="0" destOrd="0" parTransId="{C677839E-9E39-488B-8EB0-0FD044BE21FC}" sibTransId="{D2174A0D-F9C6-41FD-B868-8E0983C41744}"/>
    <dgm:cxn modelId="{A1AE7860-B2DF-4BC6-B7CA-30B576D85EBA}" type="presOf" srcId="{AEB6C92C-1076-412C-9F55-3B621F26272A}" destId="{CC563165-7DFD-40FD-8901-132CCBC830D5}" srcOrd="0" destOrd="0" presId="urn:microsoft.com/office/officeart/2008/layout/LinedList"/>
    <dgm:cxn modelId="{42133A8A-E42E-409B-8ADE-8AC354089D1D}" srcId="{6249437B-BD16-423B-9717-214B23929C1A}" destId="{AEB6C92C-1076-412C-9F55-3B621F26272A}" srcOrd="2" destOrd="0" parTransId="{E002FD95-48D4-4C94-9205-63096ED2FCD2}" sibTransId="{3AE5F68A-20A0-456F-8154-EDD62BEC0C4B}"/>
    <dgm:cxn modelId="{727031E7-4A35-4E11-B97B-FF04406B7A67}" type="presOf" srcId="{E9778E3B-A6E1-43A1-91EE-845EA6BB9E93}" destId="{5A9DA13B-20BA-459E-8BC9-BDB26B3E9E67}" srcOrd="0" destOrd="0" presId="urn:microsoft.com/office/officeart/2008/layout/LinedList"/>
    <dgm:cxn modelId="{01CC5FFD-6488-4051-8E82-BE93D37E786B}" type="presOf" srcId="{D4D7A22B-AD7C-4D7B-9607-4EECAD2D1BF2}" destId="{58CDE40F-B8FF-4B61-BE37-8DBA00BD43AF}" srcOrd="0" destOrd="0" presId="urn:microsoft.com/office/officeart/2008/layout/LinedList"/>
    <dgm:cxn modelId="{66ADA4E7-69FD-4392-BE37-552A7CF78790}" type="presParOf" srcId="{BD9F822A-9E12-454E-AE13-1D8692282B7C}" destId="{9DFCA261-0657-42C1-B68D-EA14F2700AFC}" srcOrd="0" destOrd="0" presId="urn:microsoft.com/office/officeart/2008/layout/LinedList"/>
    <dgm:cxn modelId="{7E39C8C4-2877-4C40-B4FD-5589129F0237}" type="presParOf" srcId="{BD9F822A-9E12-454E-AE13-1D8692282B7C}" destId="{62C8C84D-4070-470C-8812-F7BE1F18DCD3}" srcOrd="1" destOrd="0" presId="urn:microsoft.com/office/officeart/2008/layout/LinedList"/>
    <dgm:cxn modelId="{04BB6036-3BDC-4BF4-A60B-F0990DBDC6EA}" type="presParOf" srcId="{62C8C84D-4070-470C-8812-F7BE1F18DCD3}" destId="{5A9DA13B-20BA-459E-8BC9-BDB26B3E9E67}" srcOrd="0" destOrd="0" presId="urn:microsoft.com/office/officeart/2008/layout/LinedList"/>
    <dgm:cxn modelId="{B162DDB8-BD92-470D-A811-2C33D5CFC8D7}" type="presParOf" srcId="{62C8C84D-4070-470C-8812-F7BE1F18DCD3}" destId="{8AC33929-5CFF-4E27-B4AE-1C8BC13D4C18}" srcOrd="1" destOrd="0" presId="urn:microsoft.com/office/officeart/2008/layout/LinedList"/>
    <dgm:cxn modelId="{4413CA28-E6CE-435D-922B-50908D1BF67A}" type="presParOf" srcId="{BD9F822A-9E12-454E-AE13-1D8692282B7C}" destId="{871160B3-F427-4C6D-AF40-2C7AF8AF6716}" srcOrd="2" destOrd="0" presId="urn:microsoft.com/office/officeart/2008/layout/LinedList"/>
    <dgm:cxn modelId="{BFAFCD6F-7973-4E98-BD95-28CF68B28224}" type="presParOf" srcId="{BD9F822A-9E12-454E-AE13-1D8692282B7C}" destId="{0989738E-C4D3-4E9C-AC10-96BF1AC569E7}" srcOrd="3" destOrd="0" presId="urn:microsoft.com/office/officeart/2008/layout/LinedList"/>
    <dgm:cxn modelId="{0CB02968-4EE1-4DC7-801D-D698D707AA47}" type="presParOf" srcId="{0989738E-C4D3-4E9C-AC10-96BF1AC569E7}" destId="{58CDE40F-B8FF-4B61-BE37-8DBA00BD43AF}" srcOrd="0" destOrd="0" presId="urn:microsoft.com/office/officeart/2008/layout/LinedList"/>
    <dgm:cxn modelId="{8296CA48-B237-4294-ACE7-2D5071ED2A39}" type="presParOf" srcId="{0989738E-C4D3-4E9C-AC10-96BF1AC569E7}" destId="{C04B9667-0058-4F3B-82D6-9AC08DF8DC7D}" srcOrd="1" destOrd="0" presId="urn:microsoft.com/office/officeart/2008/layout/LinedList"/>
    <dgm:cxn modelId="{95A0F693-1CC6-41B4-A54B-B54B786F199B}" type="presParOf" srcId="{BD9F822A-9E12-454E-AE13-1D8692282B7C}" destId="{3BE9A442-802D-48B4-9B50-9315C1A9CCB6}" srcOrd="4" destOrd="0" presId="urn:microsoft.com/office/officeart/2008/layout/LinedList"/>
    <dgm:cxn modelId="{26BEE95E-9764-40C9-AA3F-F87CDD93E446}" type="presParOf" srcId="{BD9F822A-9E12-454E-AE13-1D8692282B7C}" destId="{24490D81-2839-457C-824E-B71E57B60AA0}" srcOrd="5" destOrd="0" presId="urn:microsoft.com/office/officeart/2008/layout/LinedList"/>
    <dgm:cxn modelId="{D6296460-1730-4251-A26F-26151F04E454}" type="presParOf" srcId="{24490D81-2839-457C-824E-B71E57B60AA0}" destId="{CC563165-7DFD-40FD-8901-132CCBC830D5}" srcOrd="0" destOrd="0" presId="urn:microsoft.com/office/officeart/2008/layout/LinedList"/>
    <dgm:cxn modelId="{CFDE4789-0E8A-498D-A241-A13DE2A95272}" type="presParOf" srcId="{24490D81-2839-457C-824E-B71E57B60AA0}" destId="{0FE6AED3-1F5E-4804-8DBE-3C710044817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2CFE9BE-9D09-4EC1-8719-DF8EEBE22AE0}"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743978AF-65A3-42C9-B540-CAF29DAE8DCA}">
      <dgm:prSet/>
      <dgm:spPr/>
      <dgm:t>
        <a:bodyPr/>
        <a:lstStyle/>
        <a:p>
          <a:pPr>
            <a:lnSpc>
              <a:spcPct val="100000"/>
            </a:lnSpc>
          </a:pPr>
          <a:r>
            <a:rPr lang="en-US"/>
            <a:t>s33 – for works, life of the author plus 70 years</a:t>
          </a:r>
        </a:p>
      </dgm:t>
    </dgm:pt>
    <dgm:pt modelId="{6525C543-37A1-4428-B2A2-D4C8A4866408}" type="parTrans" cxnId="{68578869-734C-40E6-87BB-838EC26606BF}">
      <dgm:prSet/>
      <dgm:spPr/>
      <dgm:t>
        <a:bodyPr/>
        <a:lstStyle/>
        <a:p>
          <a:endParaRPr lang="en-US"/>
        </a:p>
      </dgm:t>
    </dgm:pt>
    <dgm:pt modelId="{3B675F19-B550-4A78-A269-973DFC567217}" type="sibTrans" cxnId="{68578869-734C-40E6-87BB-838EC26606BF}">
      <dgm:prSet/>
      <dgm:spPr/>
      <dgm:t>
        <a:bodyPr/>
        <a:lstStyle/>
        <a:p>
          <a:endParaRPr lang="en-US"/>
        </a:p>
      </dgm:t>
    </dgm:pt>
    <dgm:pt modelId="{6697824E-3D08-4370-BEA4-F5D62EA0DF78}">
      <dgm:prSet/>
      <dgm:spPr/>
      <dgm:t>
        <a:bodyPr/>
        <a:lstStyle/>
        <a:p>
          <a:pPr>
            <a:lnSpc>
              <a:spcPct val="100000"/>
            </a:lnSpc>
          </a:pPr>
          <a:r>
            <a:rPr lang="en-US"/>
            <a:t>for works of joint authorship the copyright expires 70 years after the last joint author dies</a:t>
          </a:r>
        </a:p>
      </dgm:t>
    </dgm:pt>
    <dgm:pt modelId="{82D3B018-BD65-4620-95CD-B7BC59926A33}" type="parTrans" cxnId="{E0E7208D-7AF9-4C62-930C-2C9E3B0B02E5}">
      <dgm:prSet/>
      <dgm:spPr/>
      <dgm:t>
        <a:bodyPr/>
        <a:lstStyle/>
        <a:p>
          <a:endParaRPr lang="en-US"/>
        </a:p>
      </dgm:t>
    </dgm:pt>
    <dgm:pt modelId="{1F1BCA6B-60BF-47F2-AF25-6A262D236FFE}" type="sibTrans" cxnId="{E0E7208D-7AF9-4C62-930C-2C9E3B0B02E5}">
      <dgm:prSet/>
      <dgm:spPr/>
      <dgm:t>
        <a:bodyPr/>
        <a:lstStyle/>
        <a:p>
          <a:endParaRPr lang="en-US"/>
        </a:p>
      </dgm:t>
    </dgm:pt>
    <dgm:pt modelId="{FD6BECF9-B04E-432F-A83F-5675EE47A6CF}">
      <dgm:prSet/>
      <dgm:spPr/>
      <dgm:t>
        <a:bodyPr/>
        <a:lstStyle/>
        <a:p>
          <a:pPr>
            <a:lnSpc>
              <a:spcPct val="100000"/>
            </a:lnSpc>
          </a:pPr>
          <a:r>
            <a:rPr lang="en-US"/>
            <a:t>another reason to know who all the authors are</a:t>
          </a:r>
        </a:p>
      </dgm:t>
    </dgm:pt>
    <dgm:pt modelId="{C42D8945-8E58-4A6E-AE22-F0ACF86D9CCE}" type="parTrans" cxnId="{73A051A8-2B06-4B66-B566-37AAE111B405}">
      <dgm:prSet/>
      <dgm:spPr/>
      <dgm:t>
        <a:bodyPr/>
        <a:lstStyle/>
        <a:p>
          <a:endParaRPr lang="en-US"/>
        </a:p>
      </dgm:t>
    </dgm:pt>
    <dgm:pt modelId="{97FD698B-1795-4770-8B18-ECF31E28346C}" type="sibTrans" cxnId="{73A051A8-2B06-4B66-B566-37AAE111B405}">
      <dgm:prSet/>
      <dgm:spPr/>
      <dgm:t>
        <a:bodyPr/>
        <a:lstStyle/>
        <a:p>
          <a:endParaRPr lang="en-US"/>
        </a:p>
      </dgm:t>
    </dgm:pt>
    <dgm:pt modelId="{B4918C34-DB65-4D57-AD88-BAEEDAAA2AED}" type="pres">
      <dgm:prSet presAssocID="{42CFE9BE-9D09-4EC1-8719-DF8EEBE22AE0}" presName="root" presStyleCnt="0">
        <dgm:presLayoutVars>
          <dgm:dir/>
          <dgm:resizeHandles val="exact"/>
        </dgm:presLayoutVars>
      </dgm:prSet>
      <dgm:spPr/>
    </dgm:pt>
    <dgm:pt modelId="{0C84DDAE-3771-4217-9DF5-2F35FD41DAA5}" type="pres">
      <dgm:prSet presAssocID="{743978AF-65A3-42C9-B540-CAF29DAE8DCA}" presName="compNode" presStyleCnt="0"/>
      <dgm:spPr/>
    </dgm:pt>
    <dgm:pt modelId="{643C011F-04E8-4BA5-AF43-579332DE8DC8}" type="pres">
      <dgm:prSet presAssocID="{743978AF-65A3-42C9-B540-CAF29DAE8DCA}" presName="bgRect" presStyleLbl="bgShp" presStyleIdx="0" presStyleCnt="3"/>
      <dgm:spPr/>
    </dgm:pt>
    <dgm:pt modelId="{E4E91981-ED94-45D5-9130-D6F844BF94CE}" type="pres">
      <dgm:prSet presAssocID="{743978AF-65A3-42C9-B540-CAF29DAE8DC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encil"/>
        </a:ext>
      </dgm:extLst>
    </dgm:pt>
    <dgm:pt modelId="{ED816D89-9FE6-492D-91A6-B10856BACFF8}" type="pres">
      <dgm:prSet presAssocID="{743978AF-65A3-42C9-B540-CAF29DAE8DCA}" presName="spaceRect" presStyleCnt="0"/>
      <dgm:spPr/>
    </dgm:pt>
    <dgm:pt modelId="{80C6DF4E-5098-45DB-A0D7-D73C7630CFE8}" type="pres">
      <dgm:prSet presAssocID="{743978AF-65A3-42C9-B540-CAF29DAE8DCA}" presName="parTx" presStyleLbl="revTx" presStyleIdx="0" presStyleCnt="3">
        <dgm:presLayoutVars>
          <dgm:chMax val="0"/>
          <dgm:chPref val="0"/>
        </dgm:presLayoutVars>
      </dgm:prSet>
      <dgm:spPr/>
    </dgm:pt>
    <dgm:pt modelId="{76BBD81D-9785-46AA-ACC8-C981DF8F93E4}" type="pres">
      <dgm:prSet presAssocID="{3B675F19-B550-4A78-A269-973DFC567217}" presName="sibTrans" presStyleCnt="0"/>
      <dgm:spPr/>
    </dgm:pt>
    <dgm:pt modelId="{DCAE2C40-9C48-4732-9AD2-3DCE9AB02F90}" type="pres">
      <dgm:prSet presAssocID="{6697824E-3D08-4370-BEA4-F5D62EA0DF78}" presName="compNode" presStyleCnt="0"/>
      <dgm:spPr/>
    </dgm:pt>
    <dgm:pt modelId="{F1BB1B6C-EA87-456C-9986-D8F93E55672B}" type="pres">
      <dgm:prSet presAssocID="{6697824E-3D08-4370-BEA4-F5D62EA0DF78}" presName="bgRect" presStyleLbl="bgShp" presStyleIdx="1" presStyleCnt="3"/>
      <dgm:spPr/>
    </dgm:pt>
    <dgm:pt modelId="{4D2DBED6-C448-41D8-9243-E7CA1583AEAF}" type="pres">
      <dgm:prSet presAssocID="{6697824E-3D08-4370-BEA4-F5D62EA0DF7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otes"/>
        </a:ext>
      </dgm:extLst>
    </dgm:pt>
    <dgm:pt modelId="{1BA686FA-5754-47B9-ABE9-0F93804986FB}" type="pres">
      <dgm:prSet presAssocID="{6697824E-3D08-4370-BEA4-F5D62EA0DF78}" presName="spaceRect" presStyleCnt="0"/>
      <dgm:spPr/>
    </dgm:pt>
    <dgm:pt modelId="{2E5212AB-2075-4F34-82F7-FD5788BD67E6}" type="pres">
      <dgm:prSet presAssocID="{6697824E-3D08-4370-BEA4-F5D62EA0DF78}" presName="parTx" presStyleLbl="revTx" presStyleIdx="1" presStyleCnt="3">
        <dgm:presLayoutVars>
          <dgm:chMax val="0"/>
          <dgm:chPref val="0"/>
        </dgm:presLayoutVars>
      </dgm:prSet>
      <dgm:spPr/>
    </dgm:pt>
    <dgm:pt modelId="{41925BCD-1932-4791-8803-9385EF0C0B11}" type="pres">
      <dgm:prSet presAssocID="{1F1BCA6B-60BF-47F2-AF25-6A262D236FFE}" presName="sibTrans" presStyleCnt="0"/>
      <dgm:spPr/>
    </dgm:pt>
    <dgm:pt modelId="{1AB21CA1-DBEE-4961-9D1C-C82934053E09}" type="pres">
      <dgm:prSet presAssocID="{FD6BECF9-B04E-432F-A83F-5675EE47A6CF}" presName="compNode" presStyleCnt="0"/>
      <dgm:spPr/>
    </dgm:pt>
    <dgm:pt modelId="{808EFD63-7ADF-4416-83B7-FC2C33B40681}" type="pres">
      <dgm:prSet presAssocID="{FD6BECF9-B04E-432F-A83F-5675EE47A6CF}" presName="bgRect" presStyleLbl="bgShp" presStyleIdx="2" presStyleCnt="3"/>
      <dgm:spPr/>
    </dgm:pt>
    <dgm:pt modelId="{24253D5F-68D3-4A50-B483-8C8BA7D6005A}" type="pres">
      <dgm:prSet presAssocID="{FD6BECF9-B04E-432F-A83F-5675EE47A6C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lp"/>
        </a:ext>
      </dgm:extLst>
    </dgm:pt>
    <dgm:pt modelId="{56D99123-ED5F-455E-95B7-3FA8DE057CF5}" type="pres">
      <dgm:prSet presAssocID="{FD6BECF9-B04E-432F-A83F-5675EE47A6CF}" presName="spaceRect" presStyleCnt="0"/>
      <dgm:spPr/>
    </dgm:pt>
    <dgm:pt modelId="{FE1221BB-DB2B-45C2-8301-5E5E6205EDFC}" type="pres">
      <dgm:prSet presAssocID="{FD6BECF9-B04E-432F-A83F-5675EE47A6CF}" presName="parTx" presStyleLbl="revTx" presStyleIdx="2" presStyleCnt="3">
        <dgm:presLayoutVars>
          <dgm:chMax val="0"/>
          <dgm:chPref val="0"/>
        </dgm:presLayoutVars>
      </dgm:prSet>
      <dgm:spPr/>
    </dgm:pt>
  </dgm:ptLst>
  <dgm:cxnLst>
    <dgm:cxn modelId="{4995B50E-5138-41CB-AC90-D0E25C6E7FA5}" type="presOf" srcId="{6697824E-3D08-4370-BEA4-F5D62EA0DF78}" destId="{2E5212AB-2075-4F34-82F7-FD5788BD67E6}" srcOrd="0" destOrd="0" presId="urn:microsoft.com/office/officeart/2018/2/layout/IconVerticalSolidList"/>
    <dgm:cxn modelId="{68578869-734C-40E6-87BB-838EC26606BF}" srcId="{42CFE9BE-9D09-4EC1-8719-DF8EEBE22AE0}" destId="{743978AF-65A3-42C9-B540-CAF29DAE8DCA}" srcOrd="0" destOrd="0" parTransId="{6525C543-37A1-4428-B2A2-D4C8A4866408}" sibTransId="{3B675F19-B550-4A78-A269-973DFC567217}"/>
    <dgm:cxn modelId="{5D6B9876-8481-4F84-AD8D-70119391F289}" type="presOf" srcId="{42CFE9BE-9D09-4EC1-8719-DF8EEBE22AE0}" destId="{B4918C34-DB65-4D57-AD88-BAEEDAAA2AED}" srcOrd="0" destOrd="0" presId="urn:microsoft.com/office/officeart/2018/2/layout/IconVerticalSolidList"/>
    <dgm:cxn modelId="{DF8FFB85-713B-46ED-8017-FE4F255AAA90}" type="presOf" srcId="{743978AF-65A3-42C9-B540-CAF29DAE8DCA}" destId="{80C6DF4E-5098-45DB-A0D7-D73C7630CFE8}" srcOrd="0" destOrd="0" presId="urn:microsoft.com/office/officeart/2018/2/layout/IconVerticalSolidList"/>
    <dgm:cxn modelId="{E0E7208D-7AF9-4C62-930C-2C9E3B0B02E5}" srcId="{42CFE9BE-9D09-4EC1-8719-DF8EEBE22AE0}" destId="{6697824E-3D08-4370-BEA4-F5D62EA0DF78}" srcOrd="1" destOrd="0" parTransId="{82D3B018-BD65-4620-95CD-B7BC59926A33}" sibTransId="{1F1BCA6B-60BF-47F2-AF25-6A262D236FFE}"/>
    <dgm:cxn modelId="{73A051A8-2B06-4B66-B566-37AAE111B405}" srcId="{42CFE9BE-9D09-4EC1-8719-DF8EEBE22AE0}" destId="{FD6BECF9-B04E-432F-A83F-5675EE47A6CF}" srcOrd="2" destOrd="0" parTransId="{C42D8945-8E58-4A6E-AE22-F0ACF86D9CCE}" sibTransId="{97FD698B-1795-4770-8B18-ECF31E28346C}"/>
    <dgm:cxn modelId="{27BFB7FF-116B-4658-BC6C-3A81148C9D18}" type="presOf" srcId="{FD6BECF9-B04E-432F-A83F-5675EE47A6CF}" destId="{FE1221BB-DB2B-45C2-8301-5E5E6205EDFC}" srcOrd="0" destOrd="0" presId="urn:microsoft.com/office/officeart/2018/2/layout/IconVerticalSolidList"/>
    <dgm:cxn modelId="{A2835841-6B68-48AE-9FAA-ADE785593FDD}" type="presParOf" srcId="{B4918C34-DB65-4D57-AD88-BAEEDAAA2AED}" destId="{0C84DDAE-3771-4217-9DF5-2F35FD41DAA5}" srcOrd="0" destOrd="0" presId="urn:microsoft.com/office/officeart/2018/2/layout/IconVerticalSolidList"/>
    <dgm:cxn modelId="{ECBE838D-E193-4787-B569-8AA71FB64E5B}" type="presParOf" srcId="{0C84DDAE-3771-4217-9DF5-2F35FD41DAA5}" destId="{643C011F-04E8-4BA5-AF43-579332DE8DC8}" srcOrd="0" destOrd="0" presId="urn:microsoft.com/office/officeart/2018/2/layout/IconVerticalSolidList"/>
    <dgm:cxn modelId="{C98279DF-F900-440B-BED2-6B67CC5926F6}" type="presParOf" srcId="{0C84DDAE-3771-4217-9DF5-2F35FD41DAA5}" destId="{E4E91981-ED94-45D5-9130-D6F844BF94CE}" srcOrd="1" destOrd="0" presId="urn:microsoft.com/office/officeart/2018/2/layout/IconVerticalSolidList"/>
    <dgm:cxn modelId="{58FA83EA-F06C-4BCE-9973-7F7B464820BD}" type="presParOf" srcId="{0C84DDAE-3771-4217-9DF5-2F35FD41DAA5}" destId="{ED816D89-9FE6-492D-91A6-B10856BACFF8}" srcOrd="2" destOrd="0" presId="urn:microsoft.com/office/officeart/2018/2/layout/IconVerticalSolidList"/>
    <dgm:cxn modelId="{93D8A7C5-7F4D-4E24-9799-ECB4BBD8DE13}" type="presParOf" srcId="{0C84DDAE-3771-4217-9DF5-2F35FD41DAA5}" destId="{80C6DF4E-5098-45DB-A0D7-D73C7630CFE8}" srcOrd="3" destOrd="0" presId="urn:microsoft.com/office/officeart/2018/2/layout/IconVerticalSolidList"/>
    <dgm:cxn modelId="{6713A1FC-BCBC-4CE6-91FD-139CDF3033C7}" type="presParOf" srcId="{B4918C34-DB65-4D57-AD88-BAEEDAAA2AED}" destId="{76BBD81D-9785-46AA-ACC8-C981DF8F93E4}" srcOrd="1" destOrd="0" presId="urn:microsoft.com/office/officeart/2018/2/layout/IconVerticalSolidList"/>
    <dgm:cxn modelId="{2D42B2B5-DA9A-4378-8CED-3AE7875B039B}" type="presParOf" srcId="{B4918C34-DB65-4D57-AD88-BAEEDAAA2AED}" destId="{DCAE2C40-9C48-4732-9AD2-3DCE9AB02F90}" srcOrd="2" destOrd="0" presId="urn:microsoft.com/office/officeart/2018/2/layout/IconVerticalSolidList"/>
    <dgm:cxn modelId="{3A1F22D0-F20D-45AA-867F-E69DFF0778DB}" type="presParOf" srcId="{DCAE2C40-9C48-4732-9AD2-3DCE9AB02F90}" destId="{F1BB1B6C-EA87-456C-9986-D8F93E55672B}" srcOrd="0" destOrd="0" presId="urn:microsoft.com/office/officeart/2018/2/layout/IconVerticalSolidList"/>
    <dgm:cxn modelId="{42CBC622-9754-4B4D-B57B-ACD537A5552D}" type="presParOf" srcId="{DCAE2C40-9C48-4732-9AD2-3DCE9AB02F90}" destId="{4D2DBED6-C448-41D8-9243-E7CA1583AEAF}" srcOrd="1" destOrd="0" presId="urn:microsoft.com/office/officeart/2018/2/layout/IconVerticalSolidList"/>
    <dgm:cxn modelId="{49C2BE91-EE40-47FA-9505-9080F76F7677}" type="presParOf" srcId="{DCAE2C40-9C48-4732-9AD2-3DCE9AB02F90}" destId="{1BA686FA-5754-47B9-ABE9-0F93804986FB}" srcOrd="2" destOrd="0" presId="urn:microsoft.com/office/officeart/2018/2/layout/IconVerticalSolidList"/>
    <dgm:cxn modelId="{04D77AA4-F3B4-4F6A-8C42-8F1BB49AFC2C}" type="presParOf" srcId="{DCAE2C40-9C48-4732-9AD2-3DCE9AB02F90}" destId="{2E5212AB-2075-4F34-82F7-FD5788BD67E6}" srcOrd="3" destOrd="0" presId="urn:microsoft.com/office/officeart/2018/2/layout/IconVerticalSolidList"/>
    <dgm:cxn modelId="{34B863F7-1C7D-4502-A6B8-D66A95FC6FD8}" type="presParOf" srcId="{B4918C34-DB65-4D57-AD88-BAEEDAAA2AED}" destId="{41925BCD-1932-4791-8803-9385EF0C0B11}" srcOrd="3" destOrd="0" presId="urn:microsoft.com/office/officeart/2018/2/layout/IconVerticalSolidList"/>
    <dgm:cxn modelId="{7C1F6833-700D-4D7B-B344-5336C2C50BE1}" type="presParOf" srcId="{B4918C34-DB65-4D57-AD88-BAEEDAAA2AED}" destId="{1AB21CA1-DBEE-4961-9D1C-C82934053E09}" srcOrd="4" destOrd="0" presId="urn:microsoft.com/office/officeart/2018/2/layout/IconVerticalSolidList"/>
    <dgm:cxn modelId="{F7477043-0D18-4AAE-BC4F-2CCDF3B40FB2}" type="presParOf" srcId="{1AB21CA1-DBEE-4961-9D1C-C82934053E09}" destId="{808EFD63-7ADF-4416-83B7-FC2C33B40681}" srcOrd="0" destOrd="0" presId="urn:microsoft.com/office/officeart/2018/2/layout/IconVerticalSolidList"/>
    <dgm:cxn modelId="{0D4BDB24-1962-434E-B609-F03E15A9BB34}" type="presParOf" srcId="{1AB21CA1-DBEE-4961-9D1C-C82934053E09}" destId="{24253D5F-68D3-4A50-B483-8C8BA7D6005A}" srcOrd="1" destOrd="0" presId="urn:microsoft.com/office/officeart/2018/2/layout/IconVerticalSolidList"/>
    <dgm:cxn modelId="{4600189E-0DE1-46EB-BB86-7A45F089C383}" type="presParOf" srcId="{1AB21CA1-DBEE-4961-9D1C-C82934053E09}" destId="{56D99123-ED5F-455E-95B7-3FA8DE057CF5}" srcOrd="2" destOrd="0" presId="urn:microsoft.com/office/officeart/2018/2/layout/IconVerticalSolidList"/>
    <dgm:cxn modelId="{AF6F56C6-8734-4A42-915F-75C944DC13E0}" type="presParOf" srcId="{1AB21CA1-DBEE-4961-9D1C-C82934053E09}" destId="{FE1221BB-DB2B-45C2-8301-5E5E6205EDFC}"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D843FE3-FEF3-4DDE-A740-7740789E1EE8}" type="doc">
      <dgm:prSet loTypeId="urn:microsoft.com/office/officeart/2005/8/layout/hierarchy1" loCatId="hierarchy" qsTypeId="urn:microsoft.com/office/officeart/2005/8/quickstyle/simple1" qsCatId="simple" csTypeId="urn:microsoft.com/office/officeart/2005/8/colors/accent0_3" csCatId="mainScheme"/>
      <dgm:spPr/>
      <dgm:t>
        <a:bodyPr/>
        <a:lstStyle/>
        <a:p>
          <a:endParaRPr lang="en-US"/>
        </a:p>
      </dgm:t>
    </dgm:pt>
    <dgm:pt modelId="{CD2D9C66-CD53-4785-86B8-075D96F80890}">
      <dgm:prSet/>
      <dgm:spPr/>
      <dgm:t>
        <a:bodyPr/>
        <a:lstStyle/>
        <a:p>
          <a:r>
            <a:rPr lang="en-US"/>
            <a:t>proof that a particular copyright work was part of the training data –  because the training set is rarely published (and often protected as a trade secret), this may be difficult.  Think preliminary discovery or subpoenas.</a:t>
          </a:r>
        </a:p>
      </dgm:t>
    </dgm:pt>
    <dgm:pt modelId="{5A617AB0-130D-4A52-A703-B3CFA65E1E4F}" type="parTrans" cxnId="{A6CE67DB-4FB3-4862-8961-BBA5C362DA6D}">
      <dgm:prSet/>
      <dgm:spPr/>
      <dgm:t>
        <a:bodyPr/>
        <a:lstStyle/>
        <a:p>
          <a:endParaRPr lang="en-US"/>
        </a:p>
      </dgm:t>
    </dgm:pt>
    <dgm:pt modelId="{AD959F43-56A6-4644-8AAF-8082DA6EC751}" type="sibTrans" cxnId="{A6CE67DB-4FB3-4862-8961-BBA5C362DA6D}">
      <dgm:prSet/>
      <dgm:spPr/>
      <dgm:t>
        <a:bodyPr/>
        <a:lstStyle/>
        <a:p>
          <a:endParaRPr lang="en-US"/>
        </a:p>
      </dgm:t>
    </dgm:pt>
    <dgm:pt modelId="{8D8F7F49-CD58-4861-8BDD-BB73F9B8A6EA}">
      <dgm:prSet/>
      <dgm:spPr/>
      <dgm:t>
        <a:bodyPr/>
        <a:lstStyle/>
        <a:p>
          <a:r>
            <a:rPr lang="en-US"/>
            <a:t>jurisdictional considerations – the act of infringement must occur in the jurisdiction in question. How do prove where an infringement took place? Yet that is where you must sue. </a:t>
          </a:r>
        </a:p>
      </dgm:t>
    </dgm:pt>
    <dgm:pt modelId="{8C4BAB67-FF92-41AA-BBB2-6FF0B3EC28BA}" type="parTrans" cxnId="{E6530609-BEE2-480E-877F-ABCD33687665}">
      <dgm:prSet/>
      <dgm:spPr/>
      <dgm:t>
        <a:bodyPr/>
        <a:lstStyle/>
        <a:p>
          <a:endParaRPr lang="en-US"/>
        </a:p>
      </dgm:t>
    </dgm:pt>
    <dgm:pt modelId="{37D016C7-6908-40DE-A337-A1FC860D25C4}" type="sibTrans" cxnId="{E6530609-BEE2-480E-877F-ABCD33687665}">
      <dgm:prSet/>
      <dgm:spPr/>
      <dgm:t>
        <a:bodyPr/>
        <a:lstStyle/>
        <a:p>
          <a:endParaRPr lang="en-US"/>
        </a:p>
      </dgm:t>
    </dgm:pt>
    <dgm:pt modelId="{FA15F102-4A44-4E81-BEB6-2807529863EA}" type="pres">
      <dgm:prSet presAssocID="{6D843FE3-FEF3-4DDE-A740-7740789E1EE8}" presName="hierChild1" presStyleCnt="0">
        <dgm:presLayoutVars>
          <dgm:chPref val="1"/>
          <dgm:dir/>
          <dgm:animOne val="branch"/>
          <dgm:animLvl val="lvl"/>
          <dgm:resizeHandles/>
        </dgm:presLayoutVars>
      </dgm:prSet>
      <dgm:spPr/>
    </dgm:pt>
    <dgm:pt modelId="{71257307-1CF0-4724-ACBE-FF030D8F7805}" type="pres">
      <dgm:prSet presAssocID="{CD2D9C66-CD53-4785-86B8-075D96F80890}" presName="hierRoot1" presStyleCnt="0"/>
      <dgm:spPr/>
    </dgm:pt>
    <dgm:pt modelId="{4B1B3479-C78F-4C4E-A3C0-73FCEAD584B7}" type="pres">
      <dgm:prSet presAssocID="{CD2D9C66-CD53-4785-86B8-075D96F80890}" presName="composite" presStyleCnt="0"/>
      <dgm:spPr/>
    </dgm:pt>
    <dgm:pt modelId="{455AB6CD-86CB-4BC3-A254-7E4CFBBF1E98}" type="pres">
      <dgm:prSet presAssocID="{CD2D9C66-CD53-4785-86B8-075D96F80890}" presName="background" presStyleLbl="node0" presStyleIdx="0" presStyleCnt="2"/>
      <dgm:spPr/>
    </dgm:pt>
    <dgm:pt modelId="{76BB8DDF-EBF5-46F6-96DC-58DBD3008B99}" type="pres">
      <dgm:prSet presAssocID="{CD2D9C66-CD53-4785-86B8-075D96F80890}" presName="text" presStyleLbl="fgAcc0" presStyleIdx="0" presStyleCnt="2">
        <dgm:presLayoutVars>
          <dgm:chPref val="3"/>
        </dgm:presLayoutVars>
      </dgm:prSet>
      <dgm:spPr/>
    </dgm:pt>
    <dgm:pt modelId="{AE30400F-9105-4105-8902-5816BA67A142}" type="pres">
      <dgm:prSet presAssocID="{CD2D9C66-CD53-4785-86B8-075D96F80890}" presName="hierChild2" presStyleCnt="0"/>
      <dgm:spPr/>
    </dgm:pt>
    <dgm:pt modelId="{A6825B99-55AD-43C0-B0B5-93B31CDFB410}" type="pres">
      <dgm:prSet presAssocID="{8D8F7F49-CD58-4861-8BDD-BB73F9B8A6EA}" presName="hierRoot1" presStyleCnt="0"/>
      <dgm:spPr/>
    </dgm:pt>
    <dgm:pt modelId="{E7649583-F97D-4F0B-A976-5D14B6FEC61C}" type="pres">
      <dgm:prSet presAssocID="{8D8F7F49-CD58-4861-8BDD-BB73F9B8A6EA}" presName="composite" presStyleCnt="0"/>
      <dgm:spPr/>
    </dgm:pt>
    <dgm:pt modelId="{EE3D4C8B-8AFD-42E4-B0C8-838BED6F7819}" type="pres">
      <dgm:prSet presAssocID="{8D8F7F49-CD58-4861-8BDD-BB73F9B8A6EA}" presName="background" presStyleLbl="node0" presStyleIdx="1" presStyleCnt="2"/>
      <dgm:spPr/>
    </dgm:pt>
    <dgm:pt modelId="{03A31DE3-8579-4F66-B0BD-98AC99A5E6E1}" type="pres">
      <dgm:prSet presAssocID="{8D8F7F49-CD58-4861-8BDD-BB73F9B8A6EA}" presName="text" presStyleLbl="fgAcc0" presStyleIdx="1" presStyleCnt="2">
        <dgm:presLayoutVars>
          <dgm:chPref val="3"/>
        </dgm:presLayoutVars>
      </dgm:prSet>
      <dgm:spPr/>
    </dgm:pt>
    <dgm:pt modelId="{C8BD1871-A1E1-463A-8892-D2B016E3E496}" type="pres">
      <dgm:prSet presAssocID="{8D8F7F49-CD58-4861-8BDD-BB73F9B8A6EA}" presName="hierChild2" presStyleCnt="0"/>
      <dgm:spPr/>
    </dgm:pt>
  </dgm:ptLst>
  <dgm:cxnLst>
    <dgm:cxn modelId="{E6530609-BEE2-480E-877F-ABCD33687665}" srcId="{6D843FE3-FEF3-4DDE-A740-7740789E1EE8}" destId="{8D8F7F49-CD58-4861-8BDD-BB73F9B8A6EA}" srcOrd="1" destOrd="0" parTransId="{8C4BAB67-FF92-41AA-BBB2-6FF0B3EC28BA}" sibTransId="{37D016C7-6908-40DE-A337-A1FC860D25C4}"/>
    <dgm:cxn modelId="{C56E1656-29C3-4794-820D-ACC0175EA2F7}" type="presOf" srcId="{CD2D9C66-CD53-4785-86B8-075D96F80890}" destId="{76BB8DDF-EBF5-46F6-96DC-58DBD3008B99}" srcOrd="0" destOrd="0" presId="urn:microsoft.com/office/officeart/2005/8/layout/hierarchy1"/>
    <dgm:cxn modelId="{A6CE67DB-4FB3-4862-8961-BBA5C362DA6D}" srcId="{6D843FE3-FEF3-4DDE-A740-7740789E1EE8}" destId="{CD2D9C66-CD53-4785-86B8-075D96F80890}" srcOrd="0" destOrd="0" parTransId="{5A617AB0-130D-4A52-A703-B3CFA65E1E4F}" sibTransId="{AD959F43-56A6-4644-8AAF-8082DA6EC751}"/>
    <dgm:cxn modelId="{764A39F0-890E-4935-8735-7C94F69D4655}" type="presOf" srcId="{8D8F7F49-CD58-4861-8BDD-BB73F9B8A6EA}" destId="{03A31DE3-8579-4F66-B0BD-98AC99A5E6E1}" srcOrd="0" destOrd="0" presId="urn:microsoft.com/office/officeart/2005/8/layout/hierarchy1"/>
    <dgm:cxn modelId="{587774F9-6180-4256-AC17-6E8C9709C3FB}" type="presOf" srcId="{6D843FE3-FEF3-4DDE-A740-7740789E1EE8}" destId="{FA15F102-4A44-4E81-BEB6-2807529863EA}" srcOrd="0" destOrd="0" presId="urn:microsoft.com/office/officeart/2005/8/layout/hierarchy1"/>
    <dgm:cxn modelId="{57A75430-0BE4-4461-995D-5534609A236B}" type="presParOf" srcId="{FA15F102-4A44-4E81-BEB6-2807529863EA}" destId="{71257307-1CF0-4724-ACBE-FF030D8F7805}" srcOrd="0" destOrd="0" presId="urn:microsoft.com/office/officeart/2005/8/layout/hierarchy1"/>
    <dgm:cxn modelId="{C480BDB1-CC64-4F8B-ADEF-EE9053ECB760}" type="presParOf" srcId="{71257307-1CF0-4724-ACBE-FF030D8F7805}" destId="{4B1B3479-C78F-4C4E-A3C0-73FCEAD584B7}" srcOrd="0" destOrd="0" presId="urn:microsoft.com/office/officeart/2005/8/layout/hierarchy1"/>
    <dgm:cxn modelId="{0A3884FE-D1A4-4A51-822D-D4DBE1402E17}" type="presParOf" srcId="{4B1B3479-C78F-4C4E-A3C0-73FCEAD584B7}" destId="{455AB6CD-86CB-4BC3-A254-7E4CFBBF1E98}" srcOrd="0" destOrd="0" presId="urn:microsoft.com/office/officeart/2005/8/layout/hierarchy1"/>
    <dgm:cxn modelId="{52546812-8E52-4F65-AD1B-F23655328A13}" type="presParOf" srcId="{4B1B3479-C78F-4C4E-A3C0-73FCEAD584B7}" destId="{76BB8DDF-EBF5-46F6-96DC-58DBD3008B99}" srcOrd="1" destOrd="0" presId="urn:microsoft.com/office/officeart/2005/8/layout/hierarchy1"/>
    <dgm:cxn modelId="{2E0916AE-6E84-485E-BB2F-282DEEEEFA88}" type="presParOf" srcId="{71257307-1CF0-4724-ACBE-FF030D8F7805}" destId="{AE30400F-9105-4105-8902-5816BA67A142}" srcOrd="1" destOrd="0" presId="urn:microsoft.com/office/officeart/2005/8/layout/hierarchy1"/>
    <dgm:cxn modelId="{6C61B902-1792-4823-8E55-F429FCCB68E6}" type="presParOf" srcId="{FA15F102-4A44-4E81-BEB6-2807529863EA}" destId="{A6825B99-55AD-43C0-B0B5-93B31CDFB410}" srcOrd="1" destOrd="0" presId="urn:microsoft.com/office/officeart/2005/8/layout/hierarchy1"/>
    <dgm:cxn modelId="{4580F31E-85FA-4545-8CC6-E0A3FC7836FA}" type="presParOf" srcId="{A6825B99-55AD-43C0-B0B5-93B31CDFB410}" destId="{E7649583-F97D-4F0B-A976-5D14B6FEC61C}" srcOrd="0" destOrd="0" presId="urn:microsoft.com/office/officeart/2005/8/layout/hierarchy1"/>
    <dgm:cxn modelId="{83140588-8664-4AA5-B9B5-CE5DB7EB9A77}" type="presParOf" srcId="{E7649583-F97D-4F0B-A976-5D14B6FEC61C}" destId="{EE3D4C8B-8AFD-42E4-B0C8-838BED6F7819}" srcOrd="0" destOrd="0" presId="urn:microsoft.com/office/officeart/2005/8/layout/hierarchy1"/>
    <dgm:cxn modelId="{16A26449-F1A5-416A-A64D-F76B89E91B1F}" type="presParOf" srcId="{E7649583-F97D-4F0B-A976-5D14B6FEC61C}" destId="{03A31DE3-8579-4F66-B0BD-98AC99A5E6E1}" srcOrd="1" destOrd="0" presId="urn:microsoft.com/office/officeart/2005/8/layout/hierarchy1"/>
    <dgm:cxn modelId="{203C0CA3-1618-49A7-ADB7-736E4F486A4C}" type="presParOf" srcId="{A6825B99-55AD-43C0-B0B5-93B31CDFB410}" destId="{C8BD1871-A1E1-463A-8892-D2B016E3E496}"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A6F2102-EB88-432C-AAF0-E907FC09429C}" type="doc">
      <dgm:prSet loTypeId="urn:microsoft.com/office/officeart/2005/8/layout/hierarchy2" loCatId="hierarchy" qsTypeId="urn:microsoft.com/office/officeart/2005/8/quickstyle/simple1" qsCatId="simple" csTypeId="urn:microsoft.com/office/officeart/2005/8/colors/colorful1" csCatId="colorful"/>
      <dgm:spPr/>
      <dgm:t>
        <a:bodyPr/>
        <a:lstStyle/>
        <a:p>
          <a:endParaRPr lang="en-US"/>
        </a:p>
      </dgm:t>
    </dgm:pt>
    <dgm:pt modelId="{B6D412EA-1AEA-4DFE-8CDD-27321B2D41F8}">
      <dgm:prSet/>
      <dgm:spPr/>
      <dgm:t>
        <a:bodyPr/>
        <a:lstStyle/>
        <a:p>
          <a:r>
            <a:rPr lang="en-US"/>
            <a:t>You need to know who created the relevant works AND who owns the various copyrights that may exist in them</a:t>
          </a:r>
        </a:p>
      </dgm:t>
    </dgm:pt>
    <dgm:pt modelId="{BFA8EBBD-42B7-4073-924E-7BDFBFC8EBA3}" type="parTrans" cxnId="{57DF48E1-570A-4452-A8E4-AB860B6C31C8}">
      <dgm:prSet/>
      <dgm:spPr/>
      <dgm:t>
        <a:bodyPr/>
        <a:lstStyle/>
        <a:p>
          <a:endParaRPr lang="en-US"/>
        </a:p>
      </dgm:t>
    </dgm:pt>
    <dgm:pt modelId="{BCEE67C3-C186-4D78-ADDB-FC68365332FD}" type="sibTrans" cxnId="{57DF48E1-570A-4452-A8E4-AB860B6C31C8}">
      <dgm:prSet/>
      <dgm:spPr/>
      <dgm:t>
        <a:bodyPr/>
        <a:lstStyle/>
        <a:p>
          <a:endParaRPr lang="en-US"/>
        </a:p>
      </dgm:t>
    </dgm:pt>
    <dgm:pt modelId="{A7F40939-49E2-4B24-B856-EDF242E57BB4}">
      <dgm:prSet/>
      <dgm:spPr/>
      <dgm:t>
        <a:bodyPr/>
        <a:lstStyle/>
        <a:p>
          <a:r>
            <a:rPr lang="en-US"/>
            <a:t>Then you need their permission</a:t>
          </a:r>
        </a:p>
      </dgm:t>
    </dgm:pt>
    <dgm:pt modelId="{EFDBA5E0-1B17-4172-9AA4-37F10D9ED966}" type="parTrans" cxnId="{0E1E8E35-D5B6-4F21-A87E-1951623C573C}">
      <dgm:prSet/>
      <dgm:spPr/>
      <dgm:t>
        <a:bodyPr/>
        <a:lstStyle/>
        <a:p>
          <a:endParaRPr lang="en-US"/>
        </a:p>
      </dgm:t>
    </dgm:pt>
    <dgm:pt modelId="{5CCC005C-9EFE-42FD-875A-ADF2265EE95A}" type="sibTrans" cxnId="{0E1E8E35-D5B6-4F21-A87E-1951623C573C}">
      <dgm:prSet/>
      <dgm:spPr/>
      <dgm:t>
        <a:bodyPr/>
        <a:lstStyle/>
        <a:p>
          <a:endParaRPr lang="en-US"/>
        </a:p>
      </dgm:t>
    </dgm:pt>
    <dgm:pt modelId="{3CCEE6D9-03E6-4525-875E-FEDDBBD200C5}">
      <dgm:prSet/>
      <dgm:spPr/>
      <dgm:t>
        <a:bodyPr/>
        <a:lstStyle/>
        <a:p>
          <a:r>
            <a:rPr lang="en-US"/>
            <a:t>don’t assume that because someone has a copy of a work or access to a work they</a:t>
          </a:r>
        </a:p>
      </dgm:t>
    </dgm:pt>
    <dgm:pt modelId="{990B790B-5E01-4F6E-BC38-2963BF12A049}" type="parTrans" cxnId="{E4F20EC3-3508-4FC2-B1CC-7452C71819EC}">
      <dgm:prSet/>
      <dgm:spPr/>
      <dgm:t>
        <a:bodyPr/>
        <a:lstStyle/>
        <a:p>
          <a:endParaRPr lang="en-US"/>
        </a:p>
      </dgm:t>
    </dgm:pt>
    <dgm:pt modelId="{22C3CFE0-CB23-4A59-9F71-E31452536385}" type="sibTrans" cxnId="{E4F20EC3-3508-4FC2-B1CC-7452C71819EC}">
      <dgm:prSet/>
      <dgm:spPr/>
      <dgm:t>
        <a:bodyPr/>
        <a:lstStyle/>
        <a:p>
          <a:endParaRPr lang="en-US"/>
        </a:p>
      </dgm:t>
    </dgm:pt>
    <dgm:pt modelId="{CA3A4BFF-9E72-4AB3-A9A1-BA186F8B8487}">
      <dgm:prSet/>
      <dgm:spPr/>
      <dgm:t>
        <a:bodyPr/>
        <a:lstStyle/>
        <a:p>
          <a:r>
            <a:rPr lang="en-US"/>
            <a:t>are the copyright owner or</a:t>
          </a:r>
        </a:p>
      </dgm:t>
    </dgm:pt>
    <dgm:pt modelId="{6EBDAE48-7C1B-4CF4-B3F1-D70CA0BDA1AE}" type="parTrans" cxnId="{741A1896-FF0C-4FEA-AECF-913A4DBF3294}">
      <dgm:prSet/>
      <dgm:spPr/>
      <dgm:t>
        <a:bodyPr/>
        <a:lstStyle/>
        <a:p>
          <a:endParaRPr lang="en-US"/>
        </a:p>
      </dgm:t>
    </dgm:pt>
    <dgm:pt modelId="{96048EE2-A2DC-46D5-88BD-DF745B20A35E}" type="sibTrans" cxnId="{741A1896-FF0C-4FEA-AECF-913A4DBF3294}">
      <dgm:prSet/>
      <dgm:spPr/>
      <dgm:t>
        <a:bodyPr/>
        <a:lstStyle/>
        <a:p>
          <a:endParaRPr lang="en-US"/>
        </a:p>
      </dgm:t>
    </dgm:pt>
    <dgm:pt modelId="{394ECC5C-E629-41CF-9762-57D5AC95BACC}">
      <dgm:prSet/>
      <dgm:spPr/>
      <dgm:t>
        <a:bodyPr/>
        <a:lstStyle/>
        <a:p>
          <a:r>
            <a:rPr lang="en-US"/>
            <a:t>are authorised to give you that work for you to use</a:t>
          </a:r>
        </a:p>
      </dgm:t>
    </dgm:pt>
    <dgm:pt modelId="{9FE8CD6A-453D-42AE-9A60-06183D579F68}" type="parTrans" cxnId="{E79AC669-D00F-468E-9FFC-79E766A5D71A}">
      <dgm:prSet/>
      <dgm:spPr/>
      <dgm:t>
        <a:bodyPr/>
        <a:lstStyle/>
        <a:p>
          <a:endParaRPr lang="en-US"/>
        </a:p>
      </dgm:t>
    </dgm:pt>
    <dgm:pt modelId="{E7BE9514-8E09-482B-8C58-2E17D1EADB85}" type="sibTrans" cxnId="{E79AC669-D00F-468E-9FFC-79E766A5D71A}">
      <dgm:prSet/>
      <dgm:spPr/>
      <dgm:t>
        <a:bodyPr/>
        <a:lstStyle/>
        <a:p>
          <a:endParaRPr lang="en-US"/>
        </a:p>
      </dgm:t>
    </dgm:pt>
    <dgm:pt modelId="{ED65651F-9BEF-45CD-8742-ECAF427D1249}">
      <dgm:prSet/>
      <dgm:spPr/>
      <dgm:t>
        <a:bodyPr/>
        <a:lstStyle/>
        <a:p>
          <a:r>
            <a:rPr lang="en-US"/>
            <a:t>check that any permission or licence agreement covers everything you need (</a:t>
          </a:r>
          <a:r>
            <a:rPr lang="en-US" i="1"/>
            <a:t>Hardingham v RP Data</a:t>
          </a:r>
          <a:r>
            <a:rPr lang="en-US"/>
            <a:t> [2022] HCA 39)</a:t>
          </a:r>
        </a:p>
      </dgm:t>
    </dgm:pt>
    <dgm:pt modelId="{79A4B1E6-7B2A-44CE-98CD-D535ACC5EA65}" type="parTrans" cxnId="{74146664-7692-47F3-8BE8-69B7600D1900}">
      <dgm:prSet/>
      <dgm:spPr/>
      <dgm:t>
        <a:bodyPr/>
        <a:lstStyle/>
        <a:p>
          <a:endParaRPr lang="en-US"/>
        </a:p>
      </dgm:t>
    </dgm:pt>
    <dgm:pt modelId="{9DDEA2CA-9F75-412F-A088-34EBDC5C5DEA}" type="sibTrans" cxnId="{74146664-7692-47F3-8BE8-69B7600D1900}">
      <dgm:prSet/>
      <dgm:spPr/>
      <dgm:t>
        <a:bodyPr/>
        <a:lstStyle/>
        <a:p>
          <a:endParaRPr lang="en-US"/>
        </a:p>
      </dgm:t>
    </dgm:pt>
    <dgm:pt modelId="{E061273E-75E3-4E11-8D16-E66C99062B28}" type="pres">
      <dgm:prSet presAssocID="{DA6F2102-EB88-432C-AAF0-E907FC09429C}" presName="diagram" presStyleCnt="0">
        <dgm:presLayoutVars>
          <dgm:chPref val="1"/>
          <dgm:dir/>
          <dgm:animOne val="branch"/>
          <dgm:animLvl val="lvl"/>
          <dgm:resizeHandles val="exact"/>
        </dgm:presLayoutVars>
      </dgm:prSet>
      <dgm:spPr/>
    </dgm:pt>
    <dgm:pt modelId="{34B232F0-C812-47CE-B747-8A673B589211}" type="pres">
      <dgm:prSet presAssocID="{B6D412EA-1AEA-4DFE-8CDD-27321B2D41F8}" presName="root1" presStyleCnt="0"/>
      <dgm:spPr/>
    </dgm:pt>
    <dgm:pt modelId="{BBA72682-4D6A-4D57-9847-B09C52034FDE}" type="pres">
      <dgm:prSet presAssocID="{B6D412EA-1AEA-4DFE-8CDD-27321B2D41F8}" presName="LevelOneTextNode" presStyleLbl="node0" presStyleIdx="0" presStyleCnt="4">
        <dgm:presLayoutVars>
          <dgm:chPref val="3"/>
        </dgm:presLayoutVars>
      </dgm:prSet>
      <dgm:spPr/>
    </dgm:pt>
    <dgm:pt modelId="{490CB77A-D719-48BF-B64E-F3B2C7261EED}" type="pres">
      <dgm:prSet presAssocID="{B6D412EA-1AEA-4DFE-8CDD-27321B2D41F8}" presName="level2hierChild" presStyleCnt="0"/>
      <dgm:spPr/>
    </dgm:pt>
    <dgm:pt modelId="{A674B746-23DF-4176-951F-F0A75CA244DD}" type="pres">
      <dgm:prSet presAssocID="{A7F40939-49E2-4B24-B856-EDF242E57BB4}" presName="root1" presStyleCnt="0"/>
      <dgm:spPr/>
    </dgm:pt>
    <dgm:pt modelId="{4F0E231A-8476-4BE4-AFB6-93E70FADED2D}" type="pres">
      <dgm:prSet presAssocID="{A7F40939-49E2-4B24-B856-EDF242E57BB4}" presName="LevelOneTextNode" presStyleLbl="node0" presStyleIdx="1" presStyleCnt="4">
        <dgm:presLayoutVars>
          <dgm:chPref val="3"/>
        </dgm:presLayoutVars>
      </dgm:prSet>
      <dgm:spPr/>
    </dgm:pt>
    <dgm:pt modelId="{DA001D36-B125-4FB5-9BC3-64953136B3FD}" type="pres">
      <dgm:prSet presAssocID="{A7F40939-49E2-4B24-B856-EDF242E57BB4}" presName="level2hierChild" presStyleCnt="0"/>
      <dgm:spPr/>
    </dgm:pt>
    <dgm:pt modelId="{2E41119D-1B01-4940-A457-8B2577A03E14}" type="pres">
      <dgm:prSet presAssocID="{3CCEE6D9-03E6-4525-875E-FEDDBBD200C5}" presName="root1" presStyleCnt="0"/>
      <dgm:spPr/>
    </dgm:pt>
    <dgm:pt modelId="{16EE1D72-64D3-448F-BC2C-6F933D006712}" type="pres">
      <dgm:prSet presAssocID="{3CCEE6D9-03E6-4525-875E-FEDDBBD200C5}" presName="LevelOneTextNode" presStyleLbl="node0" presStyleIdx="2" presStyleCnt="4">
        <dgm:presLayoutVars>
          <dgm:chPref val="3"/>
        </dgm:presLayoutVars>
      </dgm:prSet>
      <dgm:spPr/>
    </dgm:pt>
    <dgm:pt modelId="{55E09B69-D1E8-432B-9493-1D7E95871CE5}" type="pres">
      <dgm:prSet presAssocID="{3CCEE6D9-03E6-4525-875E-FEDDBBD200C5}" presName="level2hierChild" presStyleCnt="0"/>
      <dgm:spPr/>
    </dgm:pt>
    <dgm:pt modelId="{F36B3E76-2E29-4E51-BA5A-77DED4388B33}" type="pres">
      <dgm:prSet presAssocID="{6EBDAE48-7C1B-4CF4-B3F1-D70CA0BDA1AE}" presName="conn2-1" presStyleLbl="parChTrans1D2" presStyleIdx="0" presStyleCnt="2"/>
      <dgm:spPr/>
    </dgm:pt>
    <dgm:pt modelId="{51A88073-8E66-41CD-B549-74AC7EF6A9AF}" type="pres">
      <dgm:prSet presAssocID="{6EBDAE48-7C1B-4CF4-B3F1-D70CA0BDA1AE}" presName="connTx" presStyleLbl="parChTrans1D2" presStyleIdx="0" presStyleCnt="2"/>
      <dgm:spPr/>
    </dgm:pt>
    <dgm:pt modelId="{B72E35B7-9872-4BEC-99DE-154853CB54F3}" type="pres">
      <dgm:prSet presAssocID="{CA3A4BFF-9E72-4AB3-A9A1-BA186F8B8487}" presName="root2" presStyleCnt="0"/>
      <dgm:spPr/>
    </dgm:pt>
    <dgm:pt modelId="{AF41F3BF-8E0C-4ADF-929B-F14FBB653739}" type="pres">
      <dgm:prSet presAssocID="{CA3A4BFF-9E72-4AB3-A9A1-BA186F8B8487}" presName="LevelTwoTextNode" presStyleLbl="node2" presStyleIdx="0" presStyleCnt="2">
        <dgm:presLayoutVars>
          <dgm:chPref val="3"/>
        </dgm:presLayoutVars>
      </dgm:prSet>
      <dgm:spPr/>
    </dgm:pt>
    <dgm:pt modelId="{9A15E773-9265-46C1-AD51-60AAD1B1CA4D}" type="pres">
      <dgm:prSet presAssocID="{CA3A4BFF-9E72-4AB3-A9A1-BA186F8B8487}" presName="level3hierChild" presStyleCnt="0"/>
      <dgm:spPr/>
    </dgm:pt>
    <dgm:pt modelId="{AD8E6562-3075-4809-A1D3-9242B95CC551}" type="pres">
      <dgm:prSet presAssocID="{9FE8CD6A-453D-42AE-9A60-06183D579F68}" presName="conn2-1" presStyleLbl="parChTrans1D2" presStyleIdx="1" presStyleCnt="2"/>
      <dgm:spPr/>
    </dgm:pt>
    <dgm:pt modelId="{DCBBAB8C-4BB5-4153-800A-B33E72B8A645}" type="pres">
      <dgm:prSet presAssocID="{9FE8CD6A-453D-42AE-9A60-06183D579F68}" presName="connTx" presStyleLbl="parChTrans1D2" presStyleIdx="1" presStyleCnt="2"/>
      <dgm:spPr/>
    </dgm:pt>
    <dgm:pt modelId="{A0F20B8B-83CD-403B-9B70-43870150AA6D}" type="pres">
      <dgm:prSet presAssocID="{394ECC5C-E629-41CF-9762-57D5AC95BACC}" presName="root2" presStyleCnt="0"/>
      <dgm:spPr/>
    </dgm:pt>
    <dgm:pt modelId="{F296C1B7-065C-4E09-AF9A-54FA4F538041}" type="pres">
      <dgm:prSet presAssocID="{394ECC5C-E629-41CF-9762-57D5AC95BACC}" presName="LevelTwoTextNode" presStyleLbl="node2" presStyleIdx="1" presStyleCnt="2">
        <dgm:presLayoutVars>
          <dgm:chPref val="3"/>
        </dgm:presLayoutVars>
      </dgm:prSet>
      <dgm:spPr/>
    </dgm:pt>
    <dgm:pt modelId="{266FF40A-FADC-4F54-920B-E7F9B1BCDFCA}" type="pres">
      <dgm:prSet presAssocID="{394ECC5C-E629-41CF-9762-57D5AC95BACC}" presName="level3hierChild" presStyleCnt="0"/>
      <dgm:spPr/>
    </dgm:pt>
    <dgm:pt modelId="{176BE3D2-1D82-424A-BA6B-37B1CD846279}" type="pres">
      <dgm:prSet presAssocID="{ED65651F-9BEF-45CD-8742-ECAF427D1249}" presName="root1" presStyleCnt="0"/>
      <dgm:spPr/>
    </dgm:pt>
    <dgm:pt modelId="{CCB7A1EE-1354-46EC-B530-5191EAD38FBC}" type="pres">
      <dgm:prSet presAssocID="{ED65651F-9BEF-45CD-8742-ECAF427D1249}" presName="LevelOneTextNode" presStyleLbl="node0" presStyleIdx="3" presStyleCnt="4">
        <dgm:presLayoutVars>
          <dgm:chPref val="3"/>
        </dgm:presLayoutVars>
      </dgm:prSet>
      <dgm:spPr/>
    </dgm:pt>
    <dgm:pt modelId="{754ED63E-124C-4442-BFA5-AC2D0990EA44}" type="pres">
      <dgm:prSet presAssocID="{ED65651F-9BEF-45CD-8742-ECAF427D1249}" presName="level2hierChild" presStyleCnt="0"/>
      <dgm:spPr/>
    </dgm:pt>
  </dgm:ptLst>
  <dgm:cxnLst>
    <dgm:cxn modelId="{DAF81A0F-6AE6-4BC4-8630-B407E0D9965E}" type="presOf" srcId="{A7F40939-49E2-4B24-B856-EDF242E57BB4}" destId="{4F0E231A-8476-4BE4-AFB6-93E70FADED2D}" srcOrd="0" destOrd="0" presId="urn:microsoft.com/office/officeart/2005/8/layout/hierarchy2"/>
    <dgm:cxn modelId="{583CAD11-CCC7-4FAB-9852-BD4DACBBD086}" type="presOf" srcId="{CA3A4BFF-9E72-4AB3-A9A1-BA186F8B8487}" destId="{AF41F3BF-8E0C-4ADF-929B-F14FBB653739}" srcOrd="0" destOrd="0" presId="urn:microsoft.com/office/officeart/2005/8/layout/hierarchy2"/>
    <dgm:cxn modelId="{43E60727-185D-43D6-A484-CFA775FE428D}" type="presOf" srcId="{9FE8CD6A-453D-42AE-9A60-06183D579F68}" destId="{DCBBAB8C-4BB5-4153-800A-B33E72B8A645}" srcOrd="1" destOrd="0" presId="urn:microsoft.com/office/officeart/2005/8/layout/hierarchy2"/>
    <dgm:cxn modelId="{0E1E8E35-D5B6-4F21-A87E-1951623C573C}" srcId="{DA6F2102-EB88-432C-AAF0-E907FC09429C}" destId="{A7F40939-49E2-4B24-B856-EDF242E57BB4}" srcOrd="1" destOrd="0" parTransId="{EFDBA5E0-1B17-4172-9AA4-37F10D9ED966}" sibTransId="{5CCC005C-9EFE-42FD-875A-ADF2265EE95A}"/>
    <dgm:cxn modelId="{7795FC61-5F34-4604-81E5-002B9DA53CC5}" type="presOf" srcId="{394ECC5C-E629-41CF-9762-57D5AC95BACC}" destId="{F296C1B7-065C-4E09-AF9A-54FA4F538041}" srcOrd="0" destOrd="0" presId="urn:microsoft.com/office/officeart/2005/8/layout/hierarchy2"/>
    <dgm:cxn modelId="{74146664-7692-47F3-8BE8-69B7600D1900}" srcId="{DA6F2102-EB88-432C-AAF0-E907FC09429C}" destId="{ED65651F-9BEF-45CD-8742-ECAF427D1249}" srcOrd="3" destOrd="0" parTransId="{79A4B1E6-7B2A-44CE-98CD-D535ACC5EA65}" sibTransId="{9DDEA2CA-9F75-412F-A088-34EBDC5C5DEA}"/>
    <dgm:cxn modelId="{CC25DC48-A800-49FD-8A1A-CFD8175A276A}" type="presOf" srcId="{3CCEE6D9-03E6-4525-875E-FEDDBBD200C5}" destId="{16EE1D72-64D3-448F-BC2C-6F933D006712}" srcOrd="0" destOrd="0" presId="urn:microsoft.com/office/officeart/2005/8/layout/hierarchy2"/>
    <dgm:cxn modelId="{E79AC669-D00F-468E-9FFC-79E766A5D71A}" srcId="{3CCEE6D9-03E6-4525-875E-FEDDBBD200C5}" destId="{394ECC5C-E629-41CF-9762-57D5AC95BACC}" srcOrd="1" destOrd="0" parTransId="{9FE8CD6A-453D-42AE-9A60-06183D579F68}" sibTransId="{E7BE9514-8E09-482B-8C58-2E17D1EADB85}"/>
    <dgm:cxn modelId="{87CD146A-E0A6-4C5B-973D-733C6B377999}" type="presOf" srcId="{B6D412EA-1AEA-4DFE-8CDD-27321B2D41F8}" destId="{BBA72682-4D6A-4D57-9847-B09C52034FDE}" srcOrd="0" destOrd="0" presId="urn:microsoft.com/office/officeart/2005/8/layout/hierarchy2"/>
    <dgm:cxn modelId="{B1A01052-CDAC-4357-A8AB-28074DC76ACB}" type="presOf" srcId="{9FE8CD6A-453D-42AE-9A60-06183D579F68}" destId="{AD8E6562-3075-4809-A1D3-9242B95CC551}" srcOrd="0" destOrd="0" presId="urn:microsoft.com/office/officeart/2005/8/layout/hierarchy2"/>
    <dgm:cxn modelId="{741A1896-FF0C-4FEA-AECF-913A4DBF3294}" srcId="{3CCEE6D9-03E6-4525-875E-FEDDBBD200C5}" destId="{CA3A4BFF-9E72-4AB3-A9A1-BA186F8B8487}" srcOrd="0" destOrd="0" parTransId="{6EBDAE48-7C1B-4CF4-B3F1-D70CA0BDA1AE}" sibTransId="{96048EE2-A2DC-46D5-88BD-DF745B20A35E}"/>
    <dgm:cxn modelId="{CA91CDB6-4797-4228-8EA1-E8AD33E664DF}" type="presOf" srcId="{6EBDAE48-7C1B-4CF4-B3F1-D70CA0BDA1AE}" destId="{51A88073-8E66-41CD-B549-74AC7EF6A9AF}" srcOrd="1" destOrd="0" presId="urn:microsoft.com/office/officeart/2005/8/layout/hierarchy2"/>
    <dgm:cxn modelId="{E4F20EC3-3508-4FC2-B1CC-7452C71819EC}" srcId="{DA6F2102-EB88-432C-AAF0-E907FC09429C}" destId="{3CCEE6D9-03E6-4525-875E-FEDDBBD200C5}" srcOrd="2" destOrd="0" parTransId="{990B790B-5E01-4F6E-BC38-2963BF12A049}" sibTransId="{22C3CFE0-CB23-4A59-9F71-E31452536385}"/>
    <dgm:cxn modelId="{3122BEC3-B879-4D9D-8AD2-7DC2AEE38949}" type="presOf" srcId="{6EBDAE48-7C1B-4CF4-B3F1-D70CA0BDA1AE}" destId="{F36B3E76-2E29-4E51-BA5A-77DED4388B33}" srcOrd="0" destOrd="0" presId="urn:microsoft.com/office/officeart/2005/8/layout/hierarchy2"/>
    <dgm:cxn modelId="{DBDC6CC9-E09C-4EB5-A093-E793003B31AE}" type="presOf" srcId="{ED65651F-9BEF-45CD-8742-ECAF427D1249}" destId="{CCB7A1EE-1354-46EC-B530-5191EAD38FBC}" srcOrd="0" destOrd="0" presId="urn:microsoft.com/office/officeart/2005/8/layout/hierarchy2"/>
    <dgm:cxn modelId="{57DF48E1-570A-4452-A8E4-AB860B6C31C8}" srcId="{DA6F2102-EB88-432C-AAF0-E907FC09429C}" destId="{B6D412EA-1AEA-4DFE-8CDD-27321B2D41F8}" srcOrd="0" destOrd="0" parTransId="{BFA8EBBD-42B7-4073-924E-7BDFBFC8EBA3}" sibTransId="{BCEE67C3-C186-4D78-ADDB-FC68365332FD}"/>
    <dgm:cxn modelId="{6403D0FE-8B3F-41A6-8CD7-080EC45FF4E6}" type="presOf" srcId="{DA6F2102-EB88-432C-AAF0-E907FC09429C}" destId="{E061273E-75E3-4E11-8D16-E66C99062B28}" srcOrd="0" destOrd="0" presId="urn:microsoft.com/office/officeart/2005/8/layout/hierarchy2"/>
    <dgm:cxn modelId="{DD41C278-D2BB-45C5-B019-C5A7173CE607}" type="presParOf" srcId="{E061273E-75E3-4E11-8D16-E66C99062B28}" destId="{34B232F0-C812-47CE-B747-8A673B589211}" srcOrd="0" destOrd="0" presId="urn:microsoft.com/office/officeart/2005/8/layout/hierarchy2"/>
    <dgm:cxn modelId="{3641C358-227A-4BAE-B89C-D90BAB4B069A}" type="presParOf" srcId="{34B232F0-C812-47CE-B747-8A673B589211}" destId="{BBA72682-4D6A-4D57-9847-B09C52034FDE}" srcOrd="0" destOrd="0" presId="urn:microsoft.com/office/officeart/2005/8/layout/hierarchy2"/>
    <dgm:cxn modelId="{864D8C23-3F5B-4585-9FBC-E05EFEC90FD6}" type="presParOf" srcId="{34B232F0-C812-47CE-B747-8A673B589211}" destId="{490CB77A-D719-48BF-B64E-F3B2C7261EED}" srcOrd="1" destOrd="0" presId="urn:microsoft.com/office/officeart/2005/8/layout/hierarchy2"/>
    <dgm:cxn modelId="{00CFD045-208E-4D2B-BF9B-A93D8B71F18E}" type="presParOf" srcId="{E061273E-75E3-4E11-8D16-E66C99062B28}" destId="{A674B746-23DF-4176-951F-F0A75CA244DD}" srcOrd="1" destOrd="0" presId="urn:microsoft.com/office/officeart/2005/8/layout/hierarchy2"/>
    <dgm:cxn modelId="{93123DB4-50CA-47C3-B06C-361DF87BAEB8}" type="presParOf" srcId="{A674B746-23DF-4176-951F-F0A75CA244DD}" destId="{4F0E231A-8476-4BE4-AFB6-93E70FADED2D}" srcOrd="0" destOrd="0" presId="urn:microsoft.com/office/officeart/2005/8/layout/hierarchy2"/>
    <dgm:cxn modelId="{3F14ABEB-DB75-4D1E-9346-FD484A37FE47}" type="presParOf" srcId="{A674B746-23DF-4176-951F-F0A75CA244DD}" destId="{DA001D36-B125-4FB5-9BC3-64953136B3FD}" srcOrd="1" destOrd="0" presId="urn:microsoft.com/office/officeart/2005/8/layout/hierarchy2"/>
    <dgm:cxn modelId="{B54F3E33-AB70-4C5E-AD9C-9B364FE88CB2}" type="presParOf" srcId="{E061273E-75E3-4E11-8D16-E66C99062B28}" destId="{2E41119D-1B01-4940-A457-8B2577A03E14}" srcOrd="2" destOrd="0" presId="urn:microsoft.com/office/officeart/2005/8/layout/hierarchy2"/>
    <dgm:cxn modelId="{C02A6FD4-5576-473D-9AAA-5D83D77FDF63}" type="presParOf" srcId="{2E41119D-1B01-4940-A457-8B2577A03E14}" destId="{16EE1D72-64D3-448F-BC2C-6F933D006712}" srcOrd="0" destOrd="0" presId="urn:microsoft.com/office/officeart/2005/8/layout/hierarchy2"/>
    <dgm:cxn modelId="{92C5E7C2-86BD-4D54-8542-494EB35C0D15}" type="presParOf" srcId="{2E41119D-1B01-4940-A457-8B2577A03E14}" destId="{55E09B69-D1E8-432B-9493-1D7E95871CE5}" srcOrd="1" destOrd="0" presId="urn:microsoft.com/office/officeart/2005/8/layout/hierarchy2"/>
    <dgm:cxn modelId="{0556A69B-8BC6-459F-AE89-F5E98695193C}" type="presParOf" srcId="{55E09B69-D1E8-432B-9493-1D7E95871CE5}" destId="{F36B3E76-2E29-4E51-BA5A-77DED4388B33}" srcOrd="0" destOrd="0" presId="urn:microsoft.com/office/officeart/2005/8/layout/hierarchy2"/>
    <dgm:cxn modelId="{C087EF38-5FE8-4408-974B-4E5FF4F8B7BB}" type="presParOf" srcId="{F36B3E76-2E29-4E51-BA5A-77DED4388B33}" destId="{51A88073-8E66-41CD-B549-74AC7EF6A9AF}" srcOrd="0" destOrd="0" presId="urn:microsoft.com/office/officeart/2005/8/layout/hierarchy2"/>
    <dgm:cxn modelId="{448DA8D8-4A24-496F-876D-F124D67A5132}" type="presParOf" srcId="{55E09B69-D1E8-432B-9493-1D7E95871CE5}" destId="{B72E35B7-9872-4BEC-99DE-154853CB54F3}" srcOrd="1" destOrd="0" presId="urn:microsoft.com/office/officeart/2005/8/layout/hierarchy2"/>
    <dgm:cxn modelId="{CDFE25D4-4777-4BD3-9AB4-8A3D301D0F13}" type="presParOf" srcId="{B72E35B7-9872-4BEC-99DE-154853CB54F3}" destId="{AF41F3BF-8E0C-4ADF-929B-F14FBB653739}" srcOrd="0" destOrd="0" presId="urn:microsoft.com/office/officeart/2005/8/layout/hierarchy2"/>
    <dgm:cxn modelId="{B9A8A7D3-3DBB-4C74-98F9-829858ED8A75}" type="presParOf" srcId="{B72E35B7-9872-4BEC-99DE-154853CB54F3}" destId="{9A15E773-9265-46C1-AD51-60AAD1B1CA4D}" srcOrd="1" destOrd="0" presId="urn:microsoft.com/office/officeart/2005/8/layout/hierarchy2"/>
    <dgm:cxn modelId="{628EDB6A-5DCE-4BEF-8CC4-FD75E26A9718}" type="presParOf" srcId="{55E09B69-D1E8-432B-9493-1D7E95871CE5}" destId="{AD8E6562-3075-4809-A1D3-9242B95CC551}" srcOrd="2" destOrd="0" presId="urn:microsoft.com/office/officeart/2005/8/layout/hierarchy2"/>
    <dgm:cxn modelId="{742FFAAB-9ADE-47C9-826D-7BBD99E052FB}" type="presParOf" srcId="{AD8E6562-3075-4809-A1D3-9242B95CC551}" destId="{DCBBAB8C-4BB5-4153-800A-B33E72B8A645}" srcOrd="0" destOrd="0" presId="urn:microsoft.com/office/officeart/2005/8/layout/hierarchy2"/>
    <dgm:cxn modelId="{3B29138F-B38F-4AC7-9775-95DDBB83ECFF}" type="presParOf" srcId="{55E09B69-D1E8-432B-9493-1D7E95871CE5}" destId="{A0F20B8B-83CD-403B-9B70-43870150AA6D}" srcOrd="3" destOrd="0" presId="urn:microsoft.com/office/officeart/2005/8/layout/hierarchy2"/>
    <dgm:cxn modelId="{E307ECA4-1ABC-4D9B-BFD9-F8DA968672FA}" type="presParOf" srcId="{A0F20B8B-83CD-403B-9B70-43870150AA6D}" destId="{F296C1B7-065C-4E09-AF9A-54FA4F538041}" srcOrd="0" destOrd="0" presId="urn:microsoft.com/office/officeart/2005/8/layout/hierarchy2"/>
    <dgm:cxn modelId="{BCC51BB9-033D-402D-98A4-D3266A4BE005}" type="presParOf" srcId="{A0F20B8B-83CD-403B-9B70-43870150AA6D}" destId="{266FF40A-FADC-4F54-920B-E7F9B1BCDFCA}" srcOrd="1" destOrd="0" presId="urn:microsoft.com/office/officeart/2005/8/layout/hierarchy2"/>
    <dgm:cxn modelId="{A781959A-C340-46D1-82EF-A8301C851276}" type="presParOf" srcId="{E061273E-75E3-4E11-8D16-E66C99062B28}" destId="{176BE3D2-1D82-424A-BA6B-37B1CD846279}" srcOrd="3" destOrd="0" presId="urn:microsoft.com/office/officeart/2005/8/layout/hierarchy2"/>
    <dgm:cxn modelId="{AC726C92-B7A1-4A1B-8F28-F5333EFF8CB1}" type="presParOf" srcId="{176BE3D2-1D82-424A-BA6B-37B1CD846279}" destId="{CCB7A1EE-1354-46EC-B530-5191EAD38FBC}" srcOrd="0" destOrd="0" presId="urn:microsoft.com/office/officeart/2005/8/layout/hierarchy2"/>
    <dgm:cxn modelId="{9D3E577A-E7BF-45E8-B439-6EA8F0F4BDC5}" type="presParOf" srcId="{176BE3D2-1D82-424A-BA6B-37B1CD846279}" destId="{754ED63E-124C-4442-BFA5-AC2D0990EA44}"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0DBB28-BC6B-45EE-8483-63961A40AECD}">
      <dsp:nvSpPr>
        <dsp:cNvPr id="0" name=""/>
        <dsp:cNvSpPr/>
      </dsp:nvSpPr>
      <dsp:spPr>
        <a:xfrm>
          <a:off x="0" y="404692"/>
          <a:ext cx="5098256" cy="1164771"/>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1" kern="1200"/>
            <a:t>Copyright Act </a:t>
          </a:r>
          <a:r>
            <a:rPr lang="en-US" sz="2100" b="0" i="0" kern="1200"/>
            <a:t>1968 (Cth)</a:t>
          </a:r>
        </a:p>
      </dsp:txBody>
      <dsp:txXfrm>
        <a:off x="56859" y="461551"/>
        <a:ext cx="4984538" cy="1051053"/>
      </dsp:txXfrm>
    </dsp:sp>
    <dsp:sp modelId="{C61921CE-EB8F-4BF1-B1BF-947F2092219C}">
      <dsp:nvSpPr>
        <dsp:cNvPr id="0" name=""/>
        <dsp:cNvSpPr/>
      </dsp:nvSpPr>
      <dsp:spPr>
        <a:xfrm>
          <a:off x="0" y="1629944"/>
          <a:ext cx="5098256" cy="1164771"/>
        </a:xfrm>
        <a:prstGeom prst="roundRect">
          <a:avLst/>
        </a:prstGeom>
        <a:solidFill>
          <a:schemeClr val="accent2">
            <a:hueOff val="199976"/>
            <a:satOff val="-3073"/>
            <a:lumOff val="1418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0" kern="1200"/>
            <a:t>no regist</a:t>
          </a:r>
          <a:r>
            <a:rPr lang="en-US" sz="2100" kern="1200"/>
            <a:t>ration system</a:t>
          </a:r>
        </a:p>
      </dsp:txBody>
      <dsp:txXfrm>
        <a:off x="56859" y="1686803"/>
        <a:ext cx="4984538" cy="1051053"/>
      </dsp:txXfrm>
    </dsp:sp>
    <dsp:sp modelId="{3FB437D0-7810-4ABA-BCDB-32FD653E90B3}">
      <dsp:nvSpPr>
        <dsp:cNvPr id="0" name=""/>
        <dsp:cNvSpPr/>
      </dsp:nvSpPr>
      <dsp:spPr>
        <a:xfrm>
          <a:off x="0" y="2855196"/>
          <a:ext cx="5098256" cy="1164771"/>
        </a:xfrm>
        <a:prstGeom prst="roundRect">
          <a:avLst/>
        </a:prstGeom>
        <a:solidFill>
          <a:schemeClr val="accent2">
            <a:hueOff val="399952"/>
            <a:satOff val="-6145"/>
            <a:lumOff val="2836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0" kern="1200"/>
            <a:t>section 32 - copyright exists in works - a literary work, dramatic work, musical work or an artistic work</a:t>
          </a:r>
          <a:endParaRPr lang="en-US" sz="2100" kern="1200"/>
        </a:p>
      </dsp:txBody>
      <dsp:txXfrm>
        <a:off x="56859" y="2912055"/>
        <a:ext cx="4984538" cy="1051053"/>
      </dsp:txXfrm>
    </dsp:sp>
    <dsp:sp modelId="{5E47B7A9-4708-454A-ACCE-8629391785FF}">
      <dsp:nvSpPr>
        <dsp:cNvPr id="0" name=""/>
        <dsp:cNvSpPr/>
      </dsp:nvSpPr>
      <dsp:spPr>
        <a:xfrm>
          <a:off x="0" y="4080447"/>
          <a:ext cx="5098256" cy="1164771"/>
        </a:xfrm>
        <a:prstGeom prst="roundRect">
          <a:avLst/>
        </a:prstGeom>
        <a:solidFill>
          <a:schemeClr val="accent2">
            <a:hueOff val="599928"/>
            <a:satOff val="-9218"/>
            <a:lumOff val="4254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there is also a separate copyright in sound recordings, cinematograph films, television broadcasts and sound broadcasts</a:t>
          </a:r>
          <a:r>
            <a:rPr lang="en-US" sz="2100" b="0" i="0" kern="1200" dirty="0"/>
            <a:t> </a:t>
          </a:r>
          <a:endParaRPr lang="en-US" sz="2100" kern="1200" dirty="0"/>
        </a:p>
      </dsp:txBody>
      <dsp:txXfrm>
        <a:off x="56859" y="4137306"/>
        <a:ext cx="4984538" cy="105105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F3ED02-D18F-47C7-8E61-A7FD69B09388}">
      <dsp:nvSpPr>
        <dsp:cNvPr id="0" name=""/>
        <dsp:cNvSpPr/>
      </dsp:nvSpPr>
      <dsp:spPr>
        <a:xfrm>
          <a:off x="0" y="696515"/>
          <a:ext cx="7543801" cy="128587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2A3172-4C10-4E7F-8362-2DB56C2A037D}">
      <dsp:nvSpPr>
        <dsp:cNvPr id="0" name=""/>
        <dsp:cNvSpPr/>
      </dsp:nvSpPr>
      <dsp:spPr>
        <a:xfrm>
          <a:off x="388977" y="985837"/>
          <a:ext cx="707231" cy="70723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1B7C89D-1815-4ABF-8455-CB7CAC67B273}">
      <dsp:nvSpPr>
        <dsp:cNvPr id="0" name=""/>
        <dsp:cNvSpPr/>
      </dsp:nvSpPr>
      <dsp:spPr>
        <a:xfrm>
          <a:off x="1485185" y="696515"/>
          <a:ext cx="6058615" cy="1285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088" tIns="136088" rIns="136088" bIns="136088" numCol="1" spcCol="1270" anchor="ctr" anchorCtr="0">
          <a:noAutofit/>
        </a:bodyPr>
        <a:lstStyle/>
        <a:p>
          <a:pPr marL="0" lvl="0" indent="0" algn="l" defTabSz="711200">
            <a:lnSpc>
              <a:spcPct val="100000"/>
            </a:lnSpc>
            <a:spcBef>
              <a:spcPct val="0"/>
            </a:spcBef>
            <a:spcAft>
              <a:spcPct val="35000"/>
            </a:spcAft>
            <a:buNone/>
          </a:pPr>
          <a:r>
            <a:rPr lang="en-US" sz="1600" i="1" kern="1200"/>
            <a:t>USA - Thaler  (August 2023) US District Court, Columbia – the Court denied copyright protection of AI-generated output, arguing that human authorship is a fundamental requirement</a:t>
          </a:r>
        </a:p>
      </dsp:txBody>
      <dsp:txXfrm>
        <a:off x="1485185" y="696515"/>
        <a:ext cx="6058615" cy="1285875"/>
      </dsp:txXfrm>
    </dsp:sp>
    <dsp:sp modelId="{3E9A3006-7074-4584-9CDA-432DE19BAAB3}">
      <dsp:nvSpPr>
        <dsp:cNvPr id="0" name=""/>
        <dsp:cNvSpPr/>
      </dsp:nvSpPr>
      <dsp:spPr>
        <a:xfrm>
          <a:off x="0" y="2303859"/>
          <a:ext cx="7543801" cy="128587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B0A9A2-37CD-4101-9445-BA8DE17C7DB3}">
      <dsp:nvSpPr>
        <dsp:cNvPr id="0" name=""/>
        <dsp:cNvSpPr/>
      </dsp:nvSpPr>
      <dsp:spPr>
        <a:xfrm>
          <a:off x="388977" y="2593181"/>
          <a:ext cx="707231" cy="70723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8C10618-845C-4CA6-8C95-C2396D864C33}">
      <dsp:nvSpPr>
        <dsp:cNvPr id="0" name=""/>
        <dsp:cNvSpPr/>
      </dsp:nvSpPr>
      <dsp:spPr>
        <a:xfrm>
          <a:off x="1485185" y="2303859"/>
          <a:ext cx="6058615" cy="1285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088" tIns="136088" rIns="136088" bIns="136088" numCol="1" spcCol="1270" anchor="ctr" anchorCtr="0">
          <a:noAutofit/>
        </a:bodyPr>
        <a:lstStyle/>
        <a:p>
          <a:pPr marL="0" lvl="0" indent="0" algn="l" defTabSz="711200">
            <a:lnSpc>
              <a:spcPct val="100000"/>
            </a:lnSpc>
            <a:spcBef>
              <a:spcPct val="0"/>
            </a:spcBef>
            <a:spcAft>
              <a:spcPct val="35000"/>
            </a:spcAft>
            <a:buNone/>
          </a:pPr>
          <a:r>
            <a:rPr lang="en-US" sz="1600" kern="1200"/>
            <a:t>CHINA  - </a:t>
          </a:r>
          <a:r>
            <a:rPr lang="en-US" sz="1600" i="1" kern="1200"/>
            <a:t>Li v Liu </a:t>
          </a:r>
          <a:r>
            <a:rPr lang="en-US" sz="1600" kern="1200"/>
            <a:t>(November 2023) Beijing Internet Court – the prompter of the AI model is the author “as long as the AI-generated images can reflect people’s original intellectual investment”</a:t>
          </a:r>
        </a:p>
      </dsp:txBody>
      <dsp:txXfrm>
        <a:off x="1485185" y="2303859"/>
        <a:ext cx="6058615" cy="12858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42AFE0-60BC-47ED-A85A-4344A3CF8A9D}">
      <dsp:nvSpPr>
        <dsp:cNvPr id="0" name=""/>
        <dsp:cNvSpPr/>
      </dsp:nvSpPr>
      <dsp:spPr>
        <a:xfrm>
          <a:off x="643271" y="329363"/>
          <a:ext cx="690556" cy="6905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AA24F40-8F2A-4200-94B0-B41E73A3EC9A}">
      <dsp:nvSpPr>
        <dsp:cNvPr id="0" name=""/>
        <dsp:cNvSpPr/>
      </dsp:nvSpPr>
      <dsp:spPr>
        <a:xfrm>
          <a:off x="221264" y="1288559"/>
          <a:ext cx="1534570" cy="613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a:t>A </a:t>
          </a:r>
          <a:r>
            <a:rPr lang="en-US" sz="1100" b="1" i="0" kern="1200"/>
            <a:t>literary work</a:t>
          </a:r>
          <a:r>
            <a:rPr lang="en-US" sz="1100" b="0" i="0" kern="1200"/>
            <a:t>, </a:t>
          </a:r>
          <a:r>
            <a:rPr lang="en-US" sz="1100" b="0" i="0" u="sng" kern="1200"/>
            <a:t>includes</a:t>
          </a:r>
          <a:endParaRPr lang="en-US" sz="1100" kern="1200"/>
        </a:p>
      </dsp:txBody>
      <dsp:txXfrm>
        <a:off x="221264" y="1288559"/>
        <a:ext cx="1534570" cy="613828"/>
      </dsp:txXfrm>
    </dsp:sp>
    <dsp:sp modelId="{4E9AEC8C-19C3-455D-9823-B7AB76C84CB6}">
      <dsp:nvSpPr>
        <dsp:cNvPr id="0" name=""/>
        <dsp:cNvSpPr/>
      </dsp:nvSpPr>
      <dsp:spPr>
        <a:xfrm>
          <a:off x="2446391" y="329363"/>
          <a:ext cx="690556" cy="6905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3689F0-8735-47AE-9750-6EFAB191C0D5}">
      <dsp:nvSpPr>
        <dsp:cNvPr id="0" name=""/>
        <dsp:cNvSpPr/>
      </dsp:nvSpPr>
      <dsp:spPr>
        <a:xfrm>
          <a:off x="2024384" y="1288559"/>
          <a:ext cx="1534570" cy="613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a:t>(a) a table, or compilation, expressed in words, figures or symbols, and</a:t>
          </a:r>
          <a:endParaRPr lang="en-US" sz="1100" kern="1200"/>
        </a:p>
      </dsp:txBody>
      <dsp:txXfrm>
        <a:off x="2024384" y="1288559"/>
        <a:ext cx="1534570" cy="613828"/>
      </dsp:txXfrm>
    </dsp:sp>
    <dsp:sp modelId="{C6B75055-E174-4C7E-82BA-5A26E26FE17E}">
      <dsp:nvSpPr>
        <dsp:cNvPr id="0" name=""/>
        <dsp:cNvSpPr/>
      </dsp:nvSpPr>
      <dsp:spPr>
        <a:xfrm>
          <a:off x="4249511" y="329363"/>
          <a:ext cx="690556" cy="6905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3D6AC22-A662-45CD-A088-E5E1BA5A9C68}">
      <dsp:nvSpPr>
        <dsp:cNvPr id="0" name=""/>
        <dsp:cNvSpPr/>
      </dsp:nvSpPr>
      <dsp:spPr>
        <a:xfrm>
          <a:off x="3827504" y="1288559"/>
          <a:ext cx="1534570" cy="613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a:t>(b) a computer program or compilation of computer programs</a:t>
          </a:r>
          <a:endParaRPr lang="en-US" sz="1100" kern="1200"/>
        </a:p>
      </dsp:txBody>
      <dsp:txXfrm>
        <a:off x="3827504" y="1288559"/>
        <a:ext cx="1534570" cy="613828"/>
      </dsp:txXfrm>
    </dsp:sp>
    <dsp:sp modelId="{D16F3955-3818-430A-9139-A1611BB68D42}">
      <dsp:nvSpPr>
        <dsp:cNvPr id="0" name=""/>
        <dsp:cNvSpPr/>
      </dsp:nvSpPr>
      <dsp:spPr>
        <a:xfrm>
          <a:off x="643271" y="2286030"/>
          <a:ext cx="690556" cy="6905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8E0AA4-5AE9-4858-A894-84E1B58A64E3}">
      <dsp:nvSpPr>
        <dsp:cNvPr id="0" name=""/>
        <dsp:cNvSpPr/>
      </dsp:nvSpPr>
      <dsp:spPr>
        <a:xfrm>
          <a:off x="221264" y="3245226"/>
          <a:ext cx="1534570" cy="613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An </a:t>
          </a:r>
          <a:r>
            <a:rPr lang="en-US" sz="1100" b="1" kern="1200"/>
            <a:t>artistic work </a:t>
          </a:r>
          <a:r>
            <a:rPr lang="en-US" sz="1100" u="sng" kern="1200"/>
            <a:t>means</a:t>
          </a:r>
          <a:endParaRPr lang="en-US" sz="1100" kern="1200"/>
        </a:p>
      </dsp:txBody>
      <dsp:txXfrm>
        <a:off x="221264" y="3245226"/>
        <a:ext cx="1534570" cy="613828"/>
      </dsp:txXfrm>
    </dsp:sp>
    <dsp:sp modelId="{73EDA74C-A7F8-41EA-8122-1A02F54BF10D}">
      <dsp:nvSpPr>
        <dsp:cNvPr id="0" name=""/>
        <dsp:cNvSpPr/>
      </dsp:nvSpPr>
      <dsp:spPr>
        <a:xfrm>
          <a:off x="2446391" y="2286030"/>
          <a:ext cx="690556" cy="69055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2E879A6-7593-4805-803F-812962F16866}">
      <dsp:nvSpPr>
        <dsp:cNvPr id="0" name=""/>
        <dsp:cNvSpPr/>
      </dsp:nvSpPr>
      <dsp:spPr>
        <a:xfrm>
          <a:off x="2024384" y="3245226"/>
          <a:ext cx="1534570" cy="613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a) a painting, sculpture, drawing, engraving or photograph, whether the work is of artistic quality or not;</a:t>
          </a:r>
        </a:p>
      </dsp:txBody>
      <dsp:txXfrm>
        <a:off x="2024384" y="3245226"/>
        <a:ext cx="1534570" cy="613828"/>
      </dsp:txXfrm>
    </dsp:sp>
    <dsp:sp modelId="{69C20DE1-D51E-4B6C-9206-6E52A0CDE40B}">
      <dsp:nvSpPr>
        <dsp:cNvPr id="0" name=""/>
        <dsp:cNvSpPr/>
      </dsp:nvSpPr>
      <dsp:spPr>
        <a:xfrm>
          <a:off x="4249511" y="2286030"/>
          <a:ext cx="690556" cy="69055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C79EC61-FC21-4922-8164-3CA49AB60B0F}">
      <dsp:nvSpPr>
        <dsp:cNvPr id="0" name=""/>
        <dsp:cNvSpPr/>
      </dsp:nvSpPr>
      <dsp:spPr>
        <a:xfrm>
          <a:off x="3827504" y="3245226"/>
          <a:ext cx="1534570" cy="613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b) a building or a model of a building, whether the building or model is of artistic quality or not; or</a:t>
          </a:r>
        </a:p>
      </dsp:txBody>
      <dsp:txXfrm>
        <a:off x="3827504" y="3245226"/>
        <a:ext cx="1534570" cy="613828"/>
      </dsp:txXfrm>
    </dsp:sp>
    <dsp:sp modelId="{F7A2EEB5-076D-4357-953B-A010D4BE6B39}">
      <dsp:nvSpPr>
        <dsp:cNvPr id="0" name=""/>
        <dsp:cNvSpPr/>
      </dsp:nvSpPr>
      <dsp:spPr>
        <a:xfrm>
          <a:off x="2446391" y="4242697"/>
          <a:ext cx="690556" cy="69055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D042A56-1FA0-45D2-8E3B-0D0E5D172669}">
      <dsp:nvSpPr>
        <dsp:cNvPr id="0" name=""/>
        <dsp:cNvSpPr/>
      </dsp:nvSpPr>
      <dsp:spPr>
        <a:xfrm>
          <a:off x="2024384" y="5201893"/>
          <a:ext cx="1534570" cy="613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c) a work of artistic craftsmanship whether or not mentioned in paragraph (a) or (b)</a:t>
          </a:r>
        </a:p>
      </dsp:txBody>
      <dsp:txXfrm>
        <a:off x="2024384" y="5201893"/>
        <a:ext cx="1534570" cy="6138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06F1DF-2DB9-423C-A52B-975ED6A29823}">
      <dsp:nvSpPr>
        <dsp:cNvPr id="0" name=""/>
        <dsp:cNvSpPr/>
      </dsp:nvSpPr>
      <dsp:spPr>
        <a:xfrm>
          <a:off x="0" y="653795"/>
          <a:ext cx="7543801" cy="12070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677F68F-87DC-4CB1-BA2A-1E42B185DCED}">
      <dsp:nvSpPr>
        <dsp:cNvPr id="0" name=""/>
        <dsp:cNvSpPr/>
      </dsp:nvSpPr>
      <dsp:spPr>
        <a:xfrm>
          <a:off x="365119" y="925372"/>
          <a:ext cx="663854" cy="6638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61FFB5-F080-453F-A175-0830FB900FB0}">
      <dsp:nvSpPr>
        <dsp:cNvPr id="0" name=""/>
        <dsp:cNvSpPr/>
      </dsp:nvSpPr>
      <dsp:spPr>
        <a:xfrm>
          <a:off x="1394094" y="653795"/>
          <a:ext cx="6149706" cy="12070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742" tIns="127742" rIns="127742" bIns="127742" numCol="1" spcCol="1270" anchor="ctr" anchorCtr="0">
          <a:noAutofit/>
        </a:bodyPr>
        <a:lstStyle/>
        <a:p>
          <a:pPr marL="0" lvl="0" indent="0" algn="l" defTabSz="1066800">
            <a:lnSpc>
              <a:spcPct val="100000"/>
            </a:lnSpc>
            <a:spcBef>
              <a:spcPct val="0"/>
            </a:spcBef>
            <a:spcAft>
              <a:spcPct val="35000"/>
            </a:spcAft>
            <a:buNone/>
          </a:pPr>
          <a:r>
            <a:rPr lang="en-US" sz="2400" kern="1200"/>
            <a:t>Section 35 – generally, the author or authors are the owners of the copyright</a:t>
          </a:r>
        </a:p>
      </dsp:txBody>
      <dsp:txXfrm>
        <a:off x="1394094" y="653795"/>
        <a:ext cx="6149706" cy="1207008"/>
      </dsp:txXfrm>
    </dsp:sp>
    <dsp:sp modelId="{B229EC73-1975-4795-B55C-004C4D2BA12E}">
      <dsp:nvSpPr>
        <dsp:cNvPr id="0" name=""/>
        <dsp:cNvSpPr/>
      </dsp:nvSpPr>
      <dsp:spPr>
        <a:xfrm>
          <a:off x="0" y="2162556"/>
          <a:ext cx="7543801" cy="12070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A127872-9A55-4AF0-9F31-63D96763AC1B}">
      <dsp:nvSpPr>
        <dsp:cNvPr id="0" name=""/>
        <dsp:cNvSpPr/>
      </dsp:nvSpPr>
      <dsp:spPr>
        <a:xfrm>
          <a:off x="365119" y="2434132"/>
          <a:ext cx="663854" cy="6638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78C2F7-5458-4526-9985-779F3E2D312A}">
      <dsp:nvSpPr>
        <dsp:cNvPr id="0" name=""/>
        <dsp:cNvSpPr/>
      </dsp:nvSpPr>
      <dsp:spPr>
        <a:xfrm>
          <a:off x="1394094" y="2162556"/>
          <a:ext cx="6149706" cy="12070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742" tIns="127742" rIns="127742" bIns="127742" numCol="1" spcCol="1270" anchor="ctr" anchorCtr="0">
          <a:noAutofit/>
        </a:bodyPr>
        <a:lstStyle/>
        <a:p>
          <a:pPr marL="0" lvl="0" indent="0" algn="l" defTabSz="1066800">
            <a:lnSpc>
              <a:spcPct val="100000"/>
            </a:lnSpc>
            <a:spcBef>
              <a:spcPct val="0"/>
            </a:spcBef>
            <a:spcAft>
              <a:spcPct val="35000"/>
            </a:spcAft>
            <a:buNone/>
          </a:pPr>
          <a:r>
            <a:rPr lang="en-US" sz="2400" kern="1200"/>
            <a:t>Section 35(6) – generally, employers own copyright in works created by their employees</a:t>
          </a:r>
        </a:p>
      </dsp:txBody>
      <dsp:txXfrm>
        <a:off x="1394094" y="2162556"/>
        <a:ext cx="6149706" cy="12070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BCD6DF-54C9-4EE5-80E7-09475E359799}">
      <dsp:nvSpPr>
        <dsp:cNvPr id="0" name=""/>
        <dsp:cNvSpPr/>
      </dsp:nvSpPr>
      <dsp:spPr>
        <a:xfrm>
          <a:off x="1655" y="660992"/>
          <a:ext cx="583242" cy="58324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01AF4E3-C3DF-4CDA-9A0E-E2C96BB112DB}">
      <dsp:nvSpPr>
        <dsp:cNvPr id="0" name=""/>
        <dsp:cNvSpPr/>
      </dsp:nvSpPr>
      <dsp:spPr>
        <a:xfrm>
          <a:off x="1655" y="1350190"/>
          <a:ext cx="1666406" cy="796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None/>
            <a:defRPr b="1"/>
          </a:pPr>
          <a:r>
            <a:rPr lang="en-US" sz="1400" kern="1200"/>
            <a:t>Copyright does not protect ideas, information, styles or techniques</a:t>
          </a:r>
        </a:p>
      </dsp:txBody>
      <dsp:txXfrm>
        <a:off x="1655" y="1350190"/>
        <a:ext cx="1666406" cy="796750"/>
      </dsp:txXfrm>
    </dsp:sp>
    <dsp:sp modelId="{B50F7F0E-186D-499E-A8EF-9E0E49A0DAE5}">
      <dsp:nvSpPr>
        <dsp:cNvPr id="0" name=""/>
        <dsp:cNvSpPr/>
      </dsp:nvSpPr>
      <dsp:spPr>
        <a:xfrm>
          <a:off x="1655" y="2196223"/>
          <a:ext cx="1666406" cy="928864"/>
        </a:xfrm>
        <a:prstGeom prst="rect">
          <a:avLst/>
        </a:prstGeom>
        <a:noFill/>
        <a:ln>
          <a:noFill/>
        </a:ln>
        <a:effectLst/>
      </dsp:spPr>
      <dsp:style>
        <a:lnRef idx="0">
          <a:scrgbClr r="0" g="0" b="0"/>
        </a:lnRef>
        <a:fillRef idx="0">
          <a:scrgbClr r="0" g="0" b="0"/>
        </a:fillRef>
        <a:effectRef idx="0">
          <a:scrgbClr r="0" g="0" b="0"/>
        </a:effectRef>
        <a:fontRef idx="minor"/>
      </dsp:style>
    </dsp:sp>
    <dsp:sp modelId="{C9494950-645C-49AF-B6A8-EF6F3A6F088A}">
      <dsp:nvSpPr>
        <dsp:cNvPr id="0" name=""/>
        <dsp:cNvSpPr/>
      </dsp:nvSpPr>
      <dsp:spPr>
        <a:xfrm>
          <a:off x="1959683" y="660992"/>
          <a:ext cx="583242" cy="58324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FF9F7B-DA85-47D0-AFD8-6D151664A950}">
      <dsp:nvSpPr>
        <dsp:cNvPr id="0" name=""/>
        <dsp:cNvSpPr/>
      </dsp:nvSpPr>
      <dsp:spPr>
        <a:xfrm>
          <a:off x="1959683" y="1350190"/>
          <a:ext cx="1666406" cy="796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None/>
            <a:defRPr b="1"/>
          </a:pPr>
          <a:r>
            <a:rPr lang="en-US" sz="1400" kern="1200"/>
            <a:t>Copyright does not protect names, titles or slogans</a:t>
          </a:r>
        </a:p>
      </dsp:txBody>
      <dsp:txXfrm>
        <a:off x="1959683" y="1350190"/>
        <a:ext cx="1666406" cy="796750"/>
      </dsp:txXfrm>
    </dsp:sp>
    <dsp:sp modelId="{3883A120-136F-4C5F-9FB3-BF23F69F1E05}">
      <dsp:nvSpPr>
        <dsp:cNvPr id="0" name=""/>
        <dsp:cNvSpPr/>
      </dsp:nvSpPr>
      <dsp:spPr>
        <a:xfrm>
          <a:off x="1959683" y="2196223"/>
          <a:ext cx="1666406" cy="928864"/>
        </a:xfrm>
        <a:prstGeom prst="rect">
          <a:avLst/>
        </a:prstGeom>
        <a:noFill/>
        <a:ln>
          <a:noFill/>
        </a:ln>
        <a:effectLst/>
      </dsp:spPr>
      <dsp:style>
        <a:lnRef idx="0">
          <a:scrgbClr r="0" g="0" b="0"/>
        </a:lnRef>
        <a:fillRef idx="0">
          <a:scrgbClr r="0" g="0" b="0"/>
        </a:fillRef>
        <a:effectRef idx="0">
          <a:scrgbClr r="0" g="0" b="0"/>
        </a:effectRef>
        <a:fontRef idx="minor"/>
      </dsp:style>
    </dsp:sp>
    <dsp:sp modelId="{F4EF9E7D-5DEF-4B0E-90FF-3B23796D6C5F}">
      <dsp:nvSpPr>
        <dsp:cNvPr id="0" name=""/>
        <dsp:cNvSpPr/>
      </dsp:nvSpPr>
      <dsp:spPr>
        <a:xfrm>
          <a:off x="3917710" y="660992"/>
          <a:ext cx="583242" cy="58324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BEBD7ED-74BE-42DB-ADFB-003F5EA8F0E7}">
      <dsp:nvSpPr>
        <dsp:cNvPr id="0" name=""/>
        <dsp:cNvSpPr/>
      </dsp:nvSpPr>
      <dsp:spPr>
        <a:xfrm>
          <a:off x="3917710" y="1350190"/>
          <a:ext cx="1666406" cy="796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None/>
            <a:defRPr b="1"/>
          </a:pPr>
          <a:r>
            <a:rPr lang="en-US" sz="1400" kern="1200"/>
            <a:t>It ONLY protects rights in works or other subject matter </a:t>
          </a:r>
        </a:p>
      </dsp:txBody>
      <dsp:txXfrm>
        <a:off x="3917710" y="1350190"/>
        <a:ext cx="1666406" cy="796750"/>
      </dsp:txXfrm>
    </dsp:sp>
    <dsp:sp modelId="{3AED30B6-EA2B-4B63-82CE-16DF815C4B19}">
      <dsp:nvSpPr>
        <dsp:cNvPr id="0" name=""/>
        <dsp:cNvSpPr/>
      </dsp:nvSpPr>
      <dsp:spPr>
        <a:xfrm>
          <a:off x="3917710" y="2196223"/>
          <a:ext cx="1666406" cy="928864"/>
        </a:xfrm>
        <a:prstGeom prst="rect">
          <a:avLst/>
        </a:prstGeom>
        <a:noFill/>
        <a:ln>
          <a:noFill/>
        </a:ln>
        <a:effectLst/>
      </dsp:spPr>
      <dsp:style>
        <a:lnRef idx="0">
          <a:scrgbClr r="0" g="0" b="0"/>
        </a:lnRef>
        <a:fillRef idx="0">
          <a:scrgbClr r="0" g="0" b="0"/>
        </a:fillRef>
        <a:effectRef idx="0">
          <a:scrgbClr r="0" g="0" b="0"/>
        </a:effectRef>
        <a:fontRef idx="minor"/>
      </dsp:style>
    </dsp:sp>
    <dsp:sp modelId="{02B06133-76B9-4E41-A9C0-281EA8869FE3}">
      <dsp:nvSpPr>
        <dsp:cNvPr id="0" name=""/>
        <dsp:cNvSpPr/>
      </dsp:nvSpPr>
      <dsp:spPr>
        <a:xfrm>
          <a:off x="5875737" y="660992"/>
          <a:ext cx="583242" cy="58324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C6BC617-00AD-49C8-9306-17103377A8B6}">
      <dsp:nvSpPr>
        <dsp:cNvPr id="0" name=""/>
        <dsp:cNvSpPr/>
      </dsp:nvSpPr>
      <dsp:spPr>
        <a:xfrm>
          <a:off x="5875737" y="1350190"/>
          <a:ext cx="1666406" cy="796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None/>
            <a:defRPr b="1"/>
          </a:pPr>
          <a:r>
            <a:rPr lang="en-US" sz="1400" kern="1200"/>
            <a:t>The originality threshold is low</a:t>
          </a:r>
        </a:p>
      </dsp:txBody>
      <dsp:txXfrm>
        <a:off x="5875737" y="1350190"/>
        <a:ext cx="1666406" cy="796750"/>
      </dsp:txXfrm>
    </dsp:sp>
    <dsp:sp modelId="{0C9A9B3A-792F-42EC-82C7-99433263FF38}">
      <dsp:nvSpPr>
        <dsp:cNvPr id="0" name=""/>
        <dsp:cNvSpPr/>
      </dsp:nvSpPr>
      <dsp:spPr>
        <a:xfrm>
          <a:off x="5875737" y="2196223"/>
          <a:ext cx="1666406" cy="928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90000"/>
            </a:lnSpc>
            <a:spcBef>
              <a:spcPct val="0"/>
            </a:spcBef>
            <a:spcAft>
              <a:spcPct val="35000"/>
            </a:spcAft>
            <a:buNone/>
          </a:pPr>
          <a:r>
            <a:rPr lang="en-US" sz="1100" i="1" kern="1200"/>
            <a:t>Telstra Corporation Limited v Phone Directories Co Pty Ltd </a:t>
          </a:r>
          <a:r>
            <a:rPr lang="en-US" sz="1100" kern="1200"/>
            <a:t>[2010] FCA 44 (Gordon J) at [344] approved in </a:t>
          </a:r>
          <a:r>
            <a:rPr lang="en-US" sz="1100" i="1" kern="1200"/>
            <a:t>Chou v Metstech Pty Limited </a:t>
          </a:r>
          <a:r>
            <a:rPr lang="en-US" sz="1100" kern="1200"/>
            <a:t>[2023] FCAFC 205 at [34]-[36]</a:t>
          </a:r>
        </a:p>
      </dsp:txBody>
      <dsp:txXfrm>
        <a:off x="5875737" y="2196223"/>
        <a:ext cx="1666406" cy="9288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9CA44A-F37F-48DC-BE9F-9D41E181CE07}">
      <dsp:nvSpPr>
        <dsp:cNvPr id="0" name=""/>
        <dsp:cNvSpPr/>
      </dsp:nvSpPr>
      <dsp:spPr>
        <a:xfrm>
          <a:off x="0" y="2758"/>
          <a:ext cx="5098256"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F75095-866E-448D-A194-E421D9456A95}">
      <dsp:nvSpPr>
        <dsp:cNvPr id="0" name=""/>
        <dsp:cNvSpPr/>
      </dsp:nvSpPr>
      <dsp:spPr>
        <a:xfrm>
          <a:off x="0" y="2758"/>
          <a:ext cx="5098256" cy="18814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endParaRPr lang="en-US" sz="1900" kern="1200" dirty="0"/>
        </a:p>
        <a:p>
          <a:pPr marL="0" lvl="0" indent="0" algn="l" defTabSz="844550">
            <a:lnSpc>
              <a:spcPct val="90000"/>
            </a:lnSpc>
            <a:spcBef>
              <a:spcPct val="0"/>
            </a:spcBef>
            <a:spcAft>
              <a:spcPct val="35000"/>
            </a:spcAft>
            <a:buNone/>
          </a:pPr>
          <a:r>
            <a:rPr lang="en-US" sz="1900" kern="1200" dirty="0"/>
            <a:t>exercising, without the licence of the copyright owner, any of the exclusive rights of the copyright owner – reproducing, publishing, communicating a work to the public, making an adaptation of a work or performing a work in public</a:t>
          </a:r>
        </a:p>
      </dsp:txBody>
      <dsp:txXfrm>
        <a:off x="0" y="2758"/>
        <a:ext cx="5098256" cy="1881464"/>
      </dsp:txXfrm>
    </dsp:sp>
    <dsp:sp modelId="{F7132C7E-9ABB-4CAC-AF9E-A1A00E6986F7}">
      <dsp:nvSpPr>
        <dsp:cNvPr id="0" name=""/>
        <dsp:cNvSpPr/>
      </dsp:nvSpPr>
      <dsp:spPr>
        <a:xfrm>
          <a:off x="0" y="1884223"/>
          <a:ext cx="5098256"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CB8C84-337D-4CDA-8155-94A787C2402F}">
      <dsp:nvSpPr>
        <dsp:cNvPr id="0" name=""/>
        <dsp:cNvSpPr/>
      </dsp:nvSpPr>
      <dsp:spPr>
        <a:xfrm>
          <a:off x="0" y="1884223"/>
          <a:ext cx="5098256" cy="18814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endParaRPr lang="en-US" sz="1900" kern="1200" dirty="0"/>
        </a:p>
        <a:p>
          <a:pPr marL="0" lvl="0" indent="0" algn="l" defTabSz="844550">
            <a:lnSpc>
              <a:spcPct val="90000"/>
            </a:lnSpc>
            <a:spcBef>
              <a:spcPct val="0"/>
            </a:spcBef>
            <a:spcAft>
              <a:spcPct val="35000"/>
            </a:spcAft>
            <a:buNone/>
          </a:pPr>
          <a:r>
            <a:rPr lang="en-US" sz="1900" kern="1200" dirty="0"/>
            <a:t>OR </a:t>
          </a:r>
          <a:r>
            <a:rPr lang="en-US" sz="1900" b="1" kern="1200" dirty="0"/>
            <a:t>authorizing</a:t>
          </a:r>
          <a:r>
            <a:rPr lang="en-US" sz="1900" kern="1200" dirty="0"/>
            <a:t> the doing of any of the above </a:t>
          </a:r>
        </a:p>
      </dsp:txBody>
      <dsp:txXfrm>
        <a:off x="0" y="1884223"/>
        <a:ext cx="5098256" cy="1881464"/>
      </dsp:txXfrm>
    </dsp:sp>
    <dsp:sp modelId="{D3CF9A76-85C3-4F53-8562-0427EC2F2367}">
      <dsp:nvSpPr>
        <dsp:cNvPr id="0" name=""/>
        <dsp:cNvSpPr/>
      </dsp:nvSpPr>
      <dsp:spPr>
        <a:xfrm>
          <a:off x="0" y="3765688"/>
          <a:ext cx="5098256"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75BD96-E18E-4CAC-9CAD-90277C9A3EAF}">
      <dsp:nvSpPr>
        <dsp:cNvPr id="0" name=""/>
        <dsp:cNvSpPr/>
      </dsp:nvSpPr>
      <dsp:spPr>
        <a:xfrm>
          <a:off x="0" y="3765688"/>
          <a:ext cx="5098256" cy="18814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endParaRPr lang="en-US" sz="1900" kern="1200" dirty="0"/>
        </a:p>
        <a:p>
          <a:pPr marL="0" lvl="0" indent="0" algn="l" defTabSz="844550">
            <a:lnSpc>
              <a:spcPct val="90000"/>
            </a:lnSpc>
            <a:spcBef>
              <a:spcPct val="0"/>
            </a:spcBef>
            <a:spcAft>
              <a:spcPct val="35000"/>
            </a:spcAft>
            <a:buNone/>
          </a:pPr>
          <a:r>
            <a:rPr lang="en-US" sz="1900" kern="1200" dirty="0"/>
            <a:t>AND you don’t need to reproduce the whole of a work to infringe copyright – you only need to reproduce/communicate a (qualitatively) </a:t>
          </a:r>
          <a:r>
            <a:rPr lang="en-US" sz="1900" b="1" kern="1200" dirty="0"/>
            <a:t>substantial part </a:t>
          </a:r>
          <a:r>
            <a:rPr lang="en-US" sz="1900" kern="1200" dirty="0"/>
            <a:t>of the work</a:t>
          </a:r>
        </a:p>
      </dsp:txBody>
      <dsp:txXfrm>
        <a:off x="0" y="3765688"/>
        <a:ext cx="5098256" cy="18814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FCA261-0657-42C1-B68D-EA14F2700AFC}">
      <dsp:nvSpPr>
        <dsp:cNvPr id="0" name=""/>
        <dsp:cNvSpPr/>
      </dsp:nvSpPr>
      <dsp:spPr>
        <a:xfrm>
          <a:off x="0" y="2411"/>
          <a:ext cx="4601323"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9DA13B-20BA-459E-8BC9-BDB26B3E9E67}">
      <dsp:nvSpPr>
        <dsp:cNvPr id="0" name=""/>
        <dsp:cNvSpPr/>
      </dsp:nvSpPr>
      <dsp:spPr>
        <a:xfrm>
          <a:off x="0" y="2411"/>
          <a:ext cx="4601323" cy="1644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a) the extent (if any) of the person’s power to prevent the doing of the act concerned</a:t>
          </a:r>
        </a:p>
      </dsp:txBody>
      <dsp:txXfrm>
        <a:off x="0" y="2411"/>
        <a:ext cx="4601323" cy="1644675"/>
      </dsp:txXfrm>
    </dsp:sp>
    <dsp:sp modelId="{871160B3-F427-4C6D-AF40-2C7AF8AF6716}">
      <dsp:nvSpPr>
        <dsp:cNvPr id="0" name=""/>
        <dsp:cNvSpPr/>
      </dsp:nvSpPr>
      <dsp:spPr>
        <a:xfrm>
          <a:off x="0" y="1647087"/>
          <a:ext cx="4601323"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CDE40F-B8FF-4B61-BE37-8DBA00BD43AF}">
      <dsp:nvSpPr>
        <dsp:cNvPr id="0" name=""/>
        <dsp:cNvSpPr/>
      </dsp:nvSpPr>
      <dsp:spPr>
        <a:xfrm>
          <a:off x="0" y="1647087"/>
          <a:ext cx="4601323" cy="1644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b) the nature of any relationship existing between the person and the person who did the act concerned</a:t>
          </a:r>
        </a:p>
      </dsp:txBody>
      <dsp:txXfrm>
        <a:off x="0" y="1647087"/>
        <a:ext cx="4601323" cy="1644675"/>
      </dsp:txXfrm>
    </dsp:sp>
    <dsp:sp modelId="{3BE9A442-802D-48B4-9B50-9315C1A9CCB6}">
      <dsp:nvSpPr>
        <dsp:cNvPr id="0" name=""/>
        <dsp:cNvSpPr/>
      </dsp:nvSpPr>
      <dsp:spPr>
        <a:xfrm>
          <a:off x="0" y="3291763"/>
          <a:ext cx="4601323"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563165-7DFD-40FD-8901-132CCBC830D5}">
      <dsp:nvSpPr>
        <dsp:cNvPr id="0" name=""/>
        <dsp:cNvSpPr/>
      </dsp:nvSpPr>
      <dsp:spPr>
        <a:xfrm>
          <a:off x="0" y="3291763"/>
          <a:ext cx="4601323" cy="1644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c) whether the person took any reasonable steps to prevent or avoid the doing of the act, including whether the person complied with any relevant industry codes of practice</a:t>
          </a:r>
        </a:p>
      </dsp:txBody>
      <dsp:txXfrm>
        <a:off x="0" y="3291763"/>
        <a:ext cx="4601323" cy="164467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3C011F-04E8-4BA5-AF43-579332DE8DC8}">
      <dsp:nvSpPr>
        <dsp:cNvPr id="0" name=""/>
        <dsp:cNvSpPr/>
      </dsp:nvSpPr>
      <dsp:spPr>
        <a:xfrm>
          <a:off x="0" y="462"/>
          <a:ext cx="7543800" cy="108147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E91981-ED94-45D5-9130-D6F844BF94CE}">
      <dsp:nvSpPr>
        <dsp:cNvPr id="0" name=""/>
        <dsp:cNvSpPr/>
      </dsp:nvSpPr>
      <dsp:spPr>
        <a:xfrm>
          <a:off x="327145" y="243793"/>
          <a:ext cx="594810" cy="5948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0C6DF4E-5098-45DB-A0D7-D73C7630CFE8}">
      <dsp:nvSpPr>
        <dsp:cNvPr id="0" name=""/>
        <dsp:cNvSpPr/>
      </dsp:nvSpPr>
      <dsp:spPr>
        <a:xfrm>
          <a:off x="1249101" y="462"/>
          <a:ext cx="6294698" cy="1081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456" tIns="114456" rIns="114456" bIns="114456" numCol="1" spcCol="1270" anchor="ctr" anchorCtr="0">
          <a:noAutofit/>
        </a:bodyPr>
        <a:lstStyle/>
        <a:p>
          <a:pPr marL="0" lvl="0" indent="0" algn="l" defTabSz="1111250">
            <a:lnSpc>
              <a:spcPct val="100000"/>
            </a:lnSpc>
            <a:spcBef>
              <a:spcPct val="0"/>
            </a:spcBef>
            <a:spcAft>
              <a:spcPct val="35000"/>
            </a:spcAft>
            <a:buNone/>
          </a:pPr>
          <a:r>
            <a:rPr lang="en-US" sz="2500" kern="1200"/>
            <a:t>s33 – for works, life of the author plus 70 years</a:t>
          </a:r>
        </a:p>
      </dsp:txBody>
      <dsp:txXfrm>
        <a:off x="1249101" y="462"/>
        <a:ext cx="6294698" cy="1081473"/>
      </dsp:txXfrm>
    </dsp:sp>
    <dsp:sp modelId="{F1BB1B6C-EA87-456C-9986-D8F93E55672B}">
      <dsp:nvSpPr>
        <dsp:cNvPr id="0" name=""/>
        <dsp:cNvSpPr/>
      </dsp:nvSpPr>
      <dsp:spPr>
        <a:xfrm>
          <a:off x="0" y="1352303"/>
          <a:ext cx="7543800" cy="108147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2DBED6-C448-41D8-9243-E7CA1583AEAF}">
      <dsp:nvSpPr>
        <dsp:cNvPr id="0" name=""/>
        <dsp:cNvSpPr/>
      </dsp:nvSpPr>
      <dsp:spPr>
        <a:xfrm>
          <a:off x="327145" y="1595634"/>
          <a:ext cx="594810" cy="5948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5212AB-2075-4F34-82F7-FD5788BD67E6}">
      <dsp:nvSpPr>
        <dsp:cNvPr id="0" name=""/>
        <dsp:cNvSpPr/>
      </dsp:nvSpPr>
      <dsp:spPr>
        <a:xfrm>
          <a:off x="1249101" y="1352303"/>
          <a:ext cx="6294698" cy="1081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456" tIns="114456" rIns="114456" bIns="114456" numCol="1" spcCol="1270" anchor="ctr" anchorCtr="0">
          <a:noAutofit/>
        </a:bodyPr>
        <a:lstStyle/>
        <a:p>
          <a:pPr marL="0" lvl="0" indent="0" algn="l" defTabSz="1111250">
            <a:lnSpc>
              <a:spcPct val="100000"/>
            </a:lnSpc>
            <a:spcBef>
              <a:spcPct val="0"/>
            </a:spcBef>
            <a:spcAft>
              <a:spcPct val="35000"/>
            </a:spcAft>
            <a:buNone/>
          </a:pPr>
          <a:r>
            <a:rPr lang="en-US" sz="2500" kern="1200"/>
            <a:t>for works of joint authorship the copyright expires 70 years after the last joint author dies</a:t>
          </a:r>
        </a:p>
      </dsp:txBody>
      <dsp:txXfrm>
        <a:off x="1249101" y="1352303"/>
        <a:ext cx="6294698" cy="1081473"/>
      </dsp:txXfrm>
    </dsp:sp>
    <dsp:sp modelId="{808EFD63-7ADF-4416-83B7-FC2C33B40681}">
      <dsp:nvSpPr>
        <dsp:cNvPr id="0" name=""/>
        <dsp:cNvSpPr/>
      </dsp:nvSpPr>
      <dsp:spPr>
        <a:xfrm>
          <a:off x="0" y="2704144"/>
          <a:ext cx="7543800" cy="108147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4253D5F-68D3-4A50-B483-8C8BA7D6005A}">
      <dsp:nvSpPr>
        <dsp:cNvPr id="0" name=""/>
        <dsp:cNvSpPr/>
      </dsp:nvSpPr>
      <dsp:spPr>
        <a:xfrm>
          <a:off x="327145" y="2947476"/>
          <a:ext cx="594810" cy="5948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E1221BB-DB2B-45C2-8301-5E5E6205EDFC}">
      <dsp:nvSpPr>
        <dsp:cNvPr id="0" name=""/>
        <dsp:cNvSpPr/>
      </dsp:nvSpPr>
      <dsp:spPr>
        <a:xfrm>
          <a:off x="1249101" y="2704144"/>
          <a:ext cx="6294698" cy="1081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456" tIns="114456" rIns="114456" bIns="114456" numCol="1" spcCol="1270" anchor="ctr" anchorCtr="0">
          <a:noAutofit/>
        </a:bodyPr>
        <a:lstStyle/>
        <a:p>
          <a:pPr marL="0" lvl="0" indent="0" algn="l" defTabSz="1111250">
            <a:lnSpc>
              <a:spcPct val="100000"/>
            </a:lnSpc>
            <a:spcBef>
              <a:spcPct val="0"/>
            </a:spcBef>
            <a:spcAft>
              <a:spcPct val="35000"/>
            </a:spcAft>
            <a:buNone/>
          </a:pPr>
          <a:r>
            <a:rPr lang="en-US" sz="2500" kern="1200"/>
            <a:t>another reason to know who all the authors are</a:t>
          </a:r>
        </a:p>
      </dsp:txBody>
      <dsp:txXfrm>
        <a:off x="1249101" y="2704144"/>
        <a:ext cx="6294698" cy="108147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5AB6CD-86CB-4BC3-A254-7E4CFBBF1E98}">
      <dsp:nvSpPr>
        <dsp:cNvPr id="0" name=""/>
        <dsp:cNvSpPr/>
      </dsp:nvSpPr>
      <dsp:spPr>
        <a:xfrm>
          <a:off x="920" y="696203"/>
          <a:ext cx="3232267" cy="2052490"/>
        </a:xfrm>
        <a:prstGeom prst="roundRect">
          <a:avLst>
            <a:gd name="adj" fmla="val 10000"/>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BB8DDF-EBF5-46F6-96DC-58DBD3008B99}">
      <dsp:nvSpPr>
        <dsp:cNvPr id="0" name=""/>
        <dsp:cNvSpPr/>
      </dsp:nvSpPr>
      <dsp:spPr>
        <a:xfrm>
          <a:off x="360061" y="1037386"/>
          <a:ext cx="3232267" cy="2052490"/>
        </a:xfrm>
        <a:prstGeom prst="roundRect">
          <a:avLst>
            <a:gd name="adj" fmla="val 10000"/>
          </a:avLst>
        </a:prstGeom>
        <a:solidFill>
          <a:schemeClr val="lt2">
            <a:alpha val="90000"/>
            <a:hueOff val="0"/>
            <a:satOff val="0"/>
            <a:lumOff val="0"/>
            <a:alphaOff val="0"/>
          </a:schemeClr>
        </a:solidFill>
        <a:ln w="1587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roof that a particular copyright work was part of the training data –  because the training set is rarely published (and often protected as a trade secret), this may be difficult.  Think preliminary discovery or subpoenas.</a:t>
          </a:r>
        </a:p>
      </dsp:txBody>
      <dsp:txXfrm>
        <a:off x="420176" y="1097501"/>
        <a:ext cx="3112037" cy="1932260"/>
      </dsp:txXfrm>
    </dsp:sp>
    <dsp:sp modelId="{EE3D4C8B-8AFD-42E4-B0C8-838BED6F7819}">
      <dsp:nvSpPr>
        <dsp:cNvPr id="0" name=""/>
        <dsp:cNvSpPr/>
      </dsp:nvSpPr>
      <dsp:spPr>
        <a:xfrm>
          <a:off x="3951470" y="696203"/>
          <a:ext cx="3232267" cy="2052490"/>
        </a:xfrm>
        <a:prstGeom prst="roundRect">
          <a:avLst>
            <a:gd name="adj" fmla="val 10000"/>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A31DE3-8579-4F66-B0BD-98AC99A5E6E1}">
      <dsp:nvSpPr>
        <dsp:cNvPr id="0" name=""/>
        <dsp:cNvSpPr/>
      </dsp:nvSpPr>
      <dsp:spPr>
        <a:xfrm>
          <a:off x="4310611" y="1037386"/>
          <a:ext cx="3232267" cy="2052490"/>
        </a:xfrm>
        <a:prstGeom prst="roundRect">
          <a:avLst>
            <a:gd name="adj" fmla="val 10000"/>
          </a:avLst>
        </a:prstGeom>
        <a:solidFill>
          <a:schemeClr val="lt2">
            <a:alpha val="90000"/>
            <a:hueOff val="0"/>
            <a:satOff val="0"/>
            <a:lumOff val="0"/>
            <a:alphaOff val="0"/>
          </a:schemeClr>
        </a:solidFill>
        <a:ln w="1587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jurisdictional considerations – the act of infringement must occur in the jurisdiction in question. How do prove where an infringement took place? Yet that is where you must sue. </a:t>
          </a:r>
        </a:p>
      </dsp:txBody>
      <dsp:txXfrm>
        <a:off x="4370726" y="1097501"/>
        <a:ext cx="3112037" cy="193226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A72682-4D6A-4D57-9847-B09C52034FDE}">
      <dsp:nvSpPr>
        <dsp:cNvPr id="0" name=""/>
        <dsp:cNvSpPr/>
      </dsp:nvSpPr>
      <dsp:spPr>
        <a:xfrm>
          <a:off x="46" y="461745"/>
          <a:ext cx="2124234" cy="1062117"/>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You need to know who created the relevant works AND who owns the various copyrights that may exist in them</a:t>
          </a:r>
        </a:p>
      </dsp:txBody>
      <dsp:txXfrm>
        <a:off x="31154" y="492853"/>
        <a:ext cx="2062018" cy="999901"/>
      </dsp:txXfrm>
    </dsp:sp>
    <dsp:sp modelId="{4F0E231A-8476-4BE4-AFB6-93E70FADED2D}">
      <dsp:nvSpPr>
        <dsp:cNvPr id="0" name=""/>
        <dsp:cNvSpPr/>
      </dsp:nvSpPr>
      <dsp:spPr>
        <a:xfrm>
          <a:off x="46" y="1683179"/>
          <a:ext cx="2124234" cy="1062117"/>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Then you need their permission</a:t>
          </a:r>
        </a:p>
      </dsp:txBody>
      <dsp:txXfrm>
        <a:off x="31154" y="1714287"/>
        <a:ext cx="2062018" cy="999901"/>
      </dsp:txXfrm>
    </dsp:sp>
    <dsp:sp modelId="{16EE1D72-64D3-448F-BC2C-6F933D006712}">
      <dsp:nvSpPr>
        <dsp:cNvPr id="0" name=""/>
        <dsp:cNvSpPr/>
      </dsp:nvSpPr>
      <dsp:spPr>
        <a:xfrm>
          <a:off x="46" y="2904614"/>
          <a:ext cx="2124234" cy="1062117"/>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don’t assume that because someone has a copy of a work or access to a work they</a:t>
          </a:r>
        </a:p>
      </dsp:txBody>
      <dsp:txXfrm>
        <a:off x="31154" y="2935722"/>
        <a:ext cx="2062018" cy="999901"/>
      </dsp:txXfrm>
    </dsp:sp>
    <dsp:sp modelId="{F36B3E76-2E29-4E51-BA5A-77DED4388B33}">
      <dsp:nvSpPr>
        <dsp:cNvPr id="0" name=""/>
        <dsp:cNvSpPr/>
      </dsp:nvSpPr>
      <dsp:spPr>
        <a:xfrm rot="19457599">
          <a:off x="2025927" y="3113395"/>
          <a:ext cx="1046401" cy="33837"/>
        </a:xfrm>
        <a:custGeom>
          <a:avLst/>
          <a:gdLst/>
          <a:ahLst/>
          <a:cxnLst/>
          <a:rect l="0" t="0" r="0" b="0"/>
          <a:pathLst>
            <a:path>
              <a:moveTo>
                <a:pt x="0" y="16918"/>
              </a:moveTo>
              <a:lnTo>
                <a:pt x="1046401" y="16918"/>
              </a:lnTo>
            </a:path>
          </a:pathLst>
        </a:custGeom>
        <a:noFill/>
        <a:ln w="15875"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22967" y="3104154"/>
        <a:ext cx="52320" cy="52320"/>
      </dsp:txXfrm>
    </dsp:sp>
    <dsp:sp modelId="{AF41F3BF-8E0C-4ADF-929B-F14FBB653739}">
      <dsp:nvSpPr>
        <dsp:cNvPr id="0" name=""/>
        <dsp:cNvSpPr/>
      </dsp:nvSpPr>
      <dsp:spPr>
        <a:xfrm>
          <a:off x="2973974" y="2293897"/>
          <a:ext cx="2124234" cy="1062117"/>
        </a:xfrm>
        <a:prstGeom prst="roundRect">
          <a:avLst>
            <a:gd name="adj" fmla="val 1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are the copyright owner or</a:t>
          </a:r>
        </a:p>
      </dsp:txBody>
      <dsp:txXfrm>
        <a:off x="3005082" y="2325005"/>
        <a:ext cx="2062018" cy="999901"/>
      </dsp:txXfrm>
    </dsp:sp>
    <dsp:sp modelId="{AD8E6562-3075-4809-A1D3-9242B95CC551}">
      <dsp:nvSpPr>
        <dsp:cNvPr id="0" name=""/>
        <dsp:cNvSpPr/>
      </dsp:nvSpPr>
      <dsp:spPr>
        <a:xfrm rot="2142401">
          <a:off x="2025927" y="3724113"/>
          <a:ext cx="1046401" cy="33837"/>
        </a:xfrm>
        <a:custGeom>
          <a:avLst/>
          <a:gdLst/>
          <a:ahLst/>
          <a:cxnLst/>
          <a:rect l="0" t="0" r="0" b="0"/>
          <a:pathLst>
            <a:path>
              <a:moveTo>
                <a:pt x="0" y="16918"/>
              </a:moveTo>
              <a:lnTo>
                <a:pt x="1046401" y="16918"/>
              </a:lnTo>
            </a:path>
          </a:pathLst>
        </a:custGeom>
        <a:noFill/>
        <a:ln w="15875"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22967" y="3714872"/>
        <a:ext cx="52320" cy="52320"/>
      </dsp:txXfrm>
    </dsp:sp>
    <dsp:sp modelId="{F296C1B7-065C-4E09-AF9A-54FA4F538041}">
      <dsp:nvSpPr>
        <dsp:cNvPr id="0" name=""/>
        <dsp:cNvSpPr/>
      </dsp:nvSpPr>
      <dsp:spPr>
        <a:xfrm>
          <a:off x="2973974" y="3515332"/>
          <a:ext cx="2124234" cy="1062117"/>
        </a:xfrm>
        <a:prstGeom prst="roundRect">
          <a:avLst>
            <a:gd name="adj" fmla="val 1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are authorised to give you that work for you to use</a:t>
          </a:r>
        </a:p>
      </dsp:txBody>
      <dsp:txXfrm>
        <a:off x="3005082" y="3546440"/>
        <a:ext cx="2062018" cy="999901"/>
      </dsp:txXfrm>
    </dsp:sp>
    <dsp:sp modelId="{CCB7A1EE-1354-46EC-B530-5191EAD38FBC}">
      <dsp:nvSpPr>
        <dsp:cNvPr id="0" name=""/>
        <dsp:cNvSpPr/>
      </dsp:nvSpPr>
      <dsp:spPr>
        <a:xfrm>
          <a:off x="46" y="4126049"/>
          <a:ext cx="2124234" cy="1062117"/>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check that any permission or licence agreement covers everything you need (</a:t>
          </a:r>
          <a:r>
            <a:rPr lang="en-US" sz="1400" i="1" kern="1200"/>
            <a:t>Hardingham v RP Data</a:t>
          </a:r>
          <a:r>
            <a:rPr lang="en-US" sz="1400" kern="1200"/>
            <a:t> [2022] HCA 39)</a:t>
          </a:r>
        </a:p>
      </dsp:txBody>
      <dsp:txXfrm>
        <a:off x="31154" y="4157157"/>
        <a:ext cx="2062018" cy="99990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7F26F9-3823-43D9-A73B-3A115AE3C16F}" type="datetimeFigureOut">
              <a:rPr lang="en-AU" smtClean="0"/>
              <a:t>24/07/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F41953-4884-4D7A-A8BB-83B93A72F2FE}" type="slidenum">
              <a:rPr lang="en-AU" smtClean="0"/>
              <a:t>‹#›</a:t>
            </a:fld>
            <a:endParaRPr lang="en-AU"/>
          </a:p>
        </p:txBody>
      </p:sp>
    </p:spTree>
    <p:extLst>
      <p:ext uri="{BB962C8B-B14F-4D97-AF65-F5344CB8AC3E}">
        <p14:creationId xmlns:p14="http://schemas.microsoft.com/office/powerpoint/2010/main" val="17756993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AU" dirty="0">
                <a:latin typeface="Verdana" panose="020B0604030504040204" pitchFamily="34" charset="0"/>
                <a:ea typeface="Verdana" panose="020B0604030504040204" pitchFamily="34" charset="0"/>
              </a:rPr>
              <a:t>Speaking notes:</a:t>
            </a:r>
          </a:p>
          <a:p>
            <a:pPr marL="0" indent="0">
              <a:buFont typeface="Arial" panose="020B0604020202020204" pitchFamily="34" charset="0"/>
              <a:buNone/>
            </a:pPr>
            <a:endParaRPr lang="en-AU" dirty="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en-AU" b="0" dirty="0"/>
              <a:t>ChatGPT it is a trained large language model, it is not a specialised legal tool.  To ensure the advice is informed by legal resources, tools such as Lexis + AI, Thomson Reuters </a:t>
            </a:r>
            <a:r>
              <a:rPr lang="en-AU" b="0" dirty="0" err="1"/>
              <a:t>CoCounsel</a:t>
            </a:r>
            <a:r>
              <a:rPr lang="en-AU" b="0" dirty="0"/>
              <a:t>, Westlaw </a:t>
            </a:r>
            <a:r>
              <a:rPr lang="en-AU" b="0" dirty="0" err="1"/>
              <a:t>AI&amp;R</a:t>
            </a:r>
            <a:r>
              <a:rPr lang="en-AU" b="0" dirty="0"/>
              <a:t> and Practical Law AI are better options.</a:t>
            </a:r>
          </a:p>
          <a:p>
            <a:pPr marL="171450" indent="-171450">
              <a:buFont typeface="Arial" panose="020B0604020202020204" pitchFamily="34" charset="0"/>
              <a:buChar char="•"/>
            </a:pPr>
            <a:r>
              <a:rPr lang="en-AU" b="0" dirty="0"/>
              <a:t>AI tools are prone to hallucinate and are great at using language to come across as being fully informed (</a:t>
            </a:r>
            <a:r>
              <a:rPr lang="en-AU" b="0" dirty="0" err="1"/>
              <a:t>eg</a:t>
            </a:r>
            <a:r>
              <a:rPr lang="en-AU" b="0" dirty="0"/>
              <a:t> no disclaimers or caveats).</a:t>
            </a:r>
          </a:p>
          <a:p>
            <a:pPr marL="171450" indent="-171450">
              <a:buFont typeface="Arial" panose="020B0604020202020204" pitchFamily="34" charset="0"/>
              <a:buChar char="•"/>
            </a:pPr>
            <a:r>
              <a:rPr lang="en-AU" b="0" dirty="0"/>
              <a:t>With some AI tools (particularly some general/non-legal tools) there is a lack of visibility with respect to the </a:t>
            </a:r>
            <a:r>
              <a:rPr lang="en-AU" b="0"/>
              <a:t>underlying legal resources </a:t>
            </a:r>
            <a:r>
              <a:rPr lang="en-AU" b="0" dirty="0"/>
              <a:t>considered (if any). </a:t>
            </a:r>
          </a:p>
          <a:p>
            <a:pPr marL="171450" indent="-171450">
              <a:buFont typeface="Arial" panose="020B0604020202020204" pitchFamily="34" charset="0"/>
              <a:buChar char="•"/>
            </a:pPr>
            <a:r>
              <a:rPr lang="en-AU" b="0" dirty="0"/>
              <a:t>Even specialist legal AI tools operate from limited data, ie their data bases may not address recent consumer law updates or nuanced principles.</a:t>
            </a:r>
          </a:p>
          <a:p>
            <a:pPr marL="171450" indent="-171450">
              <a:buFont typeface="Arial" panose="020B0604020202020204" pitchFamily="34" charset="0"/>
              <a:buChar char="•"/>
            </a:pPr>
            <a:r>
              <a:rPr lang="en-AU" b="0" dirty="0"/>
              <a:t>Thus, lawyers must not have a false sense of security regarding the accuracy of the output of AI tools.</a:t>
            </a:r>
          </a:p>
          <a:p>
            <a:pPr marL="171450" indent="-171450">
              <a:buFont typeface="Arial" panose="020B0604020202020204" pitchFamily="34" charset="0"/>
              <a:buChar char="•"/>
            </a:pPr>
            <a:r>
              <a:rPr lang="en-AU" b="0" dirty="0"/>
              <a:t>With </a:t>
            </a:r>
            <a:r>
              <a:rPr lang="en-AU" b="0" dirty="0" err="1"/>
              <a:t>ASCR</a:t>
            </a:r>
            <a:r>
              <a:rPr lang="en-AU" b="0" dirty="0"/>
              <a:t> 4 in mind, ie the need to provide competent legal advice, the lawyer in this scenario should have:</a:t>
            </a:r>
          </a:p>
          <a:p>
            <a:pPr marL="628650" lvl="1" indent="-171450">
              <a:buFont typeface="Arial" panose="020B0604020202020204" pitchFamily="34" charset="0"/>
              <a:buChar char="•"/>
            </a:pPr>
            <a:r>
              <a:rPr lang="en-AU" b="0" dirty="0"/>
              <a:t>verified the output, with independent research or even conferring with their colleague, to ensure no points (especially updates in law) were missed.</a:t>
            </a:r>
          </a:p>
          <a:p>
            <a:pPr marL="171450" lvl="0" indent="-171450">
              <a:buFont typeface="Arial" panose="020B0604020202020204" pitchFamily="34" charset="0"/>
              <a:buChar char="•"/>
            </a:pPr>
            <a:r>
              <a:rPr lang="en-AU" b="0" dirty="0"/>
              <a:t>Practical advice: treat AI (even legal AI) as an enthusiastic, capable but overly confident and inexperienced intern.  Clear instructions and thorough independent verification is required.</a:t>
            </a:r>
          </a:p>
        </p:txBody>
      </p:sp>
      <p:sp>
        <p:nvSpPr>
          <p:cNvPr id="4" name="Slide Number Placeholder 3"/>
          <p:cNvSpPr>
            <a:spLocks noGrp="1"/>
          </p:cNvSpPr>
          <p:nvPr>
            <p:ph type="sldNum" sz="quarter" idx="5"/>
          </p:nvPr>
        </p:nvSpPr>
        <p:spPr/>
        <p:txBody>
          <a:bodyPr/>
          <a:lstStyle/>
          <a:p>
            <a:fld id="{0CF41953-4884-4D7A-A8BB-83B93A72F2FE}" type="slidenum">
              <a:rPr lang="en-AU" smtClean="0"/>
              <a:t>16</a:t>
            </a:fld>
            <a:endParaRPr lang="en-AU"/>
          </a:p>
        </p:txBody>
      </p:sp>
    </p:spTree>
    <p:extLst>
      <p:ext uri="{BB962C8B-B14F-4D97-AF65-F5344CB8AC3E}">
        <p14:creationId xmlns:p14="http://schemas.microsoft.com/office/powerpoint/2010/main" val="3997383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AU" dirty="0">
                <a:latin typeface="Verdana" panose="020B0604030504040204" pitchFamily="34" charset="0"/>
                <a:ea typeface="Verdana" panose="020B0604030504040204" pitchFamily="34" charset="0"/>
              </a:rPr>
              <a:t>Speaking notes:</a:t>
            </a:r>
          </a:p>
          <a:p>
            <a:pPr marL="0" indent="0">
              <a:buFont typeface="Arial" panose="020B0604020202020204" pitchFamily="34" charset="0"/>
              <a:buNone/>
            </a:pPr>
            <a:endParaRPr lang="en-AU" dirty="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en-AU" b="0" dirty="0"/>
              <a:t>Starting point did Josephine get the client’s consent for: the recording and the use upload of their personal information to CoPilot?</a:t>
            </a:r>
          </a:p>
          <a:p>
            <a:pPr marL="171450" indent="-171450">
              <a:buFont typeface="Arial" panose="020B0604020202020204" pitchFamily="34" charset="0"/>
              <a:buChar char="•"/>
            </a:pPr>
            <a:r>
              <a:rPr lang="en-AU" b="0" dirty="0"/>
              <a:t>CoPilot, like many other AI tools, retains inputted data.</a:t>
            </a:r>
          </a:p>
          <a:p>
            <a:pPr marL="171450" indent="-171450">
              <a:buFont typeface="Arial" panose="020B0604020202020204" pitchFamily="34" charset="0"/>
              <a:buChar char="•"/>
            </a:pPr>
            <a:r>
              <a:rPr lang="en-AU" b="0" dirty="0" err="1"/>
              <a:t>ASCR</a:t>
            </a:r>
            <a:r>
              <a:rPr lang="en-AU" b="0" dirty="0"/>
              <a:t> 8 regarding the need to follow client instructions and </a:t>
            </a:r>
            <a:r>
              <a:rPr lang="en-AU" b="0" dirty="0" err="1"/>
              <a:t>ASCR</a:t>
            </a:r>
            <a:r>
              <a:rPr lang="en-AU" b="0" dirty="0"/>
              <a:t> 9 – regarding confidentiality, are things to consider from a professional obligations perspective.  Additionally, client should have provided fully informed consent.</a:t>
            </a:r>
          </a:p>
          <a:p>
            <a:pPr marL="171450" indent="-171450">
              <a:buFont typeface="Arial" panose="020B0604020202020204" pitchFamily="34" charset="0"/>
              <a:buChar char="•"/>
            </a:pPr>
            <a:r>
              <a:rPr lang="en-AU" b="0" dirty="0"/>
              <a:t>AI tools are prone to ‘hallucinate’, the Victorian Supreme Court’s guidance with respect to the use of AI in litigation notes the risk that affidavits prepared by AI may not accurately reflect the client’s knowledge, thoughts and words.</a:t>
            </a:r>
          </a:p>
          <a:p>
            <a:pPr marL="171450" indent="-171450">
              <a:buFont typeface="Arial" panose="020B0604020202020204" pitchFamily="34" charset="0"/>
              <a:buChar char="•"/>
            </a:pPr>
            <a:r>
              <a:rPr lang="en-AU" b="0" dirty="0" err="1"/>
              <a:t>ASCR</a:t>
            </a:r>
            <a:r>
              <a:rPr lang="en-AU" b="0" dirty="0"/>
              <a:t> 4 regarding the need to provide competent legal services is important to keep in mind.</a:t>
            </a:r>
          </a:p>
          <a:p>
            <a:pPr marL="171450" indent="-171450">
              <a:buFont typeface="Arial" panose="020B0604020202020204" pitchFamily="34" charset="0"/>
              <a:buChar char="•"/>
            </a:pPr>
            <a:r>
              <a:rPr lang="en-AU" b="0" dirty="0"/>
              <a:t>AI can be influenced by various data which may be biased/discriminatory in nature.</a:t>
            </a:r>
          </a:p>
          <a:p>
            <a:pPr marL="171450" indent="-171450">
              <a:buFont typeface="Arial" panose="020B0604020202020204" pitchFamily="34" charset="0"/>
              <a:buChar char="•"/>
            </a:pPr>
            <a:r>
              <a:rPr lang="en-AU" b="0" dirty="0"/>
              <a:t>A thorough review of the of the affidavit is required to ensure that no misrepresentations (however slight) have been made.</a:t>
            </a:r>
          </a:p>
          <a:p>
            <a:pPr marL="171450" indent="-171450">
              <a:buFont typeface="Arial" panose="020B0604020202020204" pitchFamily="34" charset="0"/>
              <a:buChar char="•"/>
            </a:pPr>
            <a:r>
              <a:rPr lang="en-AU" b="0" dirty="0" err="1"/>
              <a:t>ASCR</a:t>
            </a:r>
            <a:r>
              <a:rPr lang="en-AU" b="0" dirty="0"/>
              <a:t> 37 regarding the need to supervise junior lawyers is important to consider as you should verify not only the output but also the method which has been applied to create the output.</a:t>
            </a:r>
          </a:p>
        </p:txBody>
      </p:sp>
      <p:sp>
        <p:nvSpPr>
          <p:cNvPr id="4" name="Slide Number Placeholder 3"/>
          <p:cNvSpPr>
            <a:spLocks noGrp="1"/>
          </p:cNvSpPr>
          <p:nvPr>
            <p:ph type="sldNum" sz="quarter" idx="5"/>
          </p:nvPr>
        </p:nvSpPr>
        <p:spPr/>
        <p:txBody>
          <a:bodyPr/>
          <a:lstStyle/>
          <a:p>
            <a:fld id="{0CF41953-4884-4D7A-A8BB-83B93A72F2FE}" type="slidenum">
              <a:rPr lang="en-AU" smtClean="0"/>
              <a:t>17</a:t>
            </a:fld>
            <a:endParaRPr lang="en-AU"/>
          </a:p>
        </p:txBody>
      </p:sp>
    </p:spTree>
    <p:extLst>
      <p:ext uri="{BB962C8B-B14F-4D97-AF65-F5344CB8AC3E}">
        <p14:creationId xmlns:p14="http://schemas.microsoft.com/office/powerpoint/2010/main" val="1798214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494FC-187F-4748-999B-A26D5C36E696}"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8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AU" dirty="0">
                <a:latin typeface="Verdana" panose="020B0604030504040204" pitchFamily="34" charset="0"/>
                <a:ea typeface="Verdana" panose="020B0604030504040204" pitchFamily="34" charset="0"/>
              </a:rPr>
              <a:t>Speaking notes:</a:t>
            </a:r>
          </a:p>
          <a:p>
            <a:pPr marL="0" indent="0">
              <a:buFont typeface="Arial" panose="020B0604020202020204" pitchFamily="34" charset="0"/>
              <a:buNone/>
            </a:pPr>
            <a:endParaRPr lang="en-AU" dirty="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en-AU" b="0" dirty="0"/>
              <a:t>Starting point did Josephine get the client’s consent for: the recording and the use upload of their personal information to CoPilot?</a:t>
            </a:r>
          </a:p>
          <a:p>
            <a:pPr marL="171450" indent="-171450">
              <a:buFont typeface="Arial" panose="020B0604020202020204" pitchFamily="34" charset="0"/>
              <a:buChar char="•"/>
            </a:pPr>
            <a:r>
              <a:rPr lang="en-AU" b="0" dirty="0"/>
              <a:t>CoPilot, like many other AI tools, retains inputted data.</a:t>
            </a:r>
          </a:p>
          <a:p>
            <a:pPr marL="171450" indent="-171450">
              <a:buFont typeface="Arial" panose="020B0604020202020204" pitchFamily="34" charset="0"/>
              <a:buChar char="•"/>
            </a:pPr>
            <a:r>
              <a:rPr lang="en-AU" b="0" dirty="0" err="1"/>
              <a:t>ASCR</a:t>
            </a:r>
            <a:r>
              <a:rPr lang="en-AU" b="0" dirty="0"/>
              <a:t> 8 regarding the need to follow client instructions and </a:t>
            </a:r>
            <a:r>
              <a:rPr lang="en-AU" b="0" dirty="0" err="1"/>
              <a:t>ASCR</a:t>
            </a:r>
            <a:r>
              <a:rPr lang="en-AU" b="0" dirty="0"/>
              <a:t> 9 – regarding confidentiality, are things to consider from a professional obligations perspective.  Additionally, client should have provided fully informed consent.</a:t>
            </a:r>
          </a:p>
          <a:p>
            <a:pPr marL="171450" indent="-171450">
              <a:buFont typeface="Arial" panose="020B0604020202020204" pitchFamily="34" charset="0"/>
              <a:buChar char="•"/>
            </a:pPr>
            <a:r>
              <a:rPr lang="en-AU" b="0" dirty="0"/>
              <a:t>AI tools are prone to ‘hallucinate’, the Victorian Supreme Court’s guidance with respect to the use of AI in litigation notes the risk that affidavits prepared by AI may not accurately reflect the client’s knowledge, thoughts and words.</a:t>
            </a:r>
          </a:p>
          <a:p>
            <a:pPr marL="171450" indent="-171450">
              <a:buFont typeface="Arial" panose="020B0604020202020204" pitchFamily="34" charset="0"/>
              <a:buChar char="•"/>
            </a:pPr>
            <a:r>
              <a:rPr lang="en-AU" b="0" dirty="0" err="1"/>
              <a:t>ASCR</a:t>
            </a:r>
            <a:r>
              <a:rPr lang="en-AU" b="0" dirty="0"/>
              <a:t> 4 regarding the need to provide competent legal services is important to keep in mind.</a:t>
            </a:r>
          </a:p>
          <a:p>
            <a:pPr marL="171450" indent="-171450">
              <a:buFont typeface="Arial" panose="020B0604020202020204" pitchFamily="34" charset="0"/>
              <a:buChar char="•"/>
            </a:pPr>
            <a:r>
              <a:rPr lang="en-AU" b="0" dirty="0"/>
              <a:t>AI can be influenced by various data which may be biased/discriminatory in nature.</a:t>
            </a:r>
          </a:p>
          <a:p>
            <a:pPr marL="171450" indent="-171450">
              <a:buFont typeface="Arial" panose="020B0604020202020204" pitchFamily="34" charset="0"/>
              <a:buChar char="•"/>
            </a:pPr>
            <a:r>
              <a:rPr lang="en-AU" b="0" dirty="0"/>
              <a:t>A thorough review of the of the affidavit is required to ensure that no misrepresentations (however slight) have been made.</a:t>
            </a:r>
          </a:p>
          <a:p>
            <a:pPr marL="171450" indent="-171450">
              <a:buFont typeface="Arial" panose="020B0604020202020204" pitchFamily="34" charset="0"/>
              <a:buChar char="•"/>
            </a:pPr>
            <a:r>
              <a:rPr lang="en-AU" b="0" dirty="0" err="1"/>
              <a:t>ASCR</a:t>
            </a:r>
            <a:r>
              <a:rPr lang="en-AU" b="0" dirty="0"/>
              <a:t> 37 regarding the need to supervise junior lawyers is important to consider as you should verify not only the output but also the method which has been applied to create the outpu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CF41953-4884-4D7A-A8BB-83B93A72F2FE}"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214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EE273-B139-4086-83C4-7B145E2A01FE}"/>
              </a:ext>
            </a:extLst>
          </p:cNvPr>
          <p:cNvSpPr/>
          <p:nvPr userDrawn="1"/>
        </p:nvSpPr>
        <p:spPr>
          <a:xfrm>
            <a:off x="1" y="6356350"/>
            <a:ext cx="12188840" cy="501650"/>
          </a:xfrm>
          <a:prstGeom prst="rect">
            <a:avLst/>
          </a:prstGeom>
          <a:solidFill>
            <a:srgbClr val="00727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p>
        </p:txBody>
      </p:sp>
      <p:sp>
        <p:nvSpPr>
          <p:cNvPr id="2" name="Title 1">
            <a:extLst>
              <a:ext uri="{FF2B5EF4-FFF2-40B4-BE49-F238E27FC236}">
                <a16:creationId xmlns:a16="http://schemas.microsoft.com/office/drawing/2014/main" id="{46CBB47B-F23C-4F82-9AC9-017A9CAA5A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AD827E98-82EB-4F90-A8C2-462D5B7D0C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03C2C796-A11E-4E35-A740-46856424E8F6}"/>
              </a:ext>
            </a:extLst>
          </p:cNvPr>
          <p:cNvSpPr>
            <a:spLocks noGrp="1"/>
          </p:cNvSpPr>
          <p:nvPr>
            <p:ph type="dt" sz="half" idx="10"/>
          </p:nvPr>
        </p:nvSpPr>
        <p:spPr>
          <a:xfrm>
            <a:off x="838200" y="6356350"/>
            <a:ext cx="2743200" cy="365125"/>
          </a:xfrm>
          <a:prstGeom prst="rect">
            <a:avLst/>
          </a:prstGeom>
        </p:spPr>
        <p:txBody>
          <a:bodyPr/>
          <a:lstStyle>
            <a:lvl1pPr>
              <a:defRPr>
                <a:solidFill>
                  <a:schemeClr val="bg1"/>
                </a:solidFill>
              </a:defRPr>
            </a:lvl1pPr>
          </a:lstStyle>
          <a:p>
            <a:fld id="{E6739481-DBB4-4F4A-B051-D2E759383A9E}" type="datetime1">
              <a:rPr lang="en-AU" smtClean="0"/>
              <a:t>24/07/2024</a:t>
            </a:fld>
            <a:endParaRPr lang="en-AU"/>
          </a:p>
        </p:txBody>
      </p:sp>
      <p:sp>
        <p:nvSpPr>
          <p:cNvPr id="5" name="Footer Placeholder 4">
            <a:extLst>
              <a:ext uri="{FF2B5EF4-FFF2-40B4-BE49-F238E27FC236}">
                <a16:creationId xmlns:a16="http://schemas.microsoft.com/office/drawing/2014/main" id="{B967056D-1CBE-4DF6-8F89-7164A2A606EE}"/>
              </a:ext>
            </a:extLst>
          </p:cNvPr>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r>
              <a:rPr lang="en-US" dirty="0"/>
              <a:t>Crypto-assets update</a:t>
            </a:r>
            <a:endParaRPr lang="en-AU" dirty="0"/>
          </a:p>
        </p:txBody>
      </p:sp>
      <p:sp>
        <p:nvSpPr>
          <p:cNvPr id="6" name="Slide Number Placeholder 5">
            <a:extLst>
              <a:ext uri="{FF2B5EF4-FFF2-40B4-BE49-F238E27FC236}">
                <a16:creationId xmlns:a16="http://schemas.microsoft.com/office/drawing/2014/main" id="{0B72314F-B15B-45AA-9901-0AF39DDE095A}"/>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03F39873-4EE6-4357-A001-6C17E9D52876}" type="slidenum">
              <a:rPr lang="en-AU" smtClean="0"/>
              <a:pPr/>
              <a:t>‹#›</a:t>
            </a:fld>
            <a:endParaRPr lang="en-AU"/>
          </a:p>
        </p:txBody>
      </p:sp>
    </p:spTree>
    <p:extLst>
      <p:ext uri="{BB962C8B-B14F-4D97-AF65-F5344CB8AC3E}">
        <p14:creationId xmlns:p14="http://schemas.microsoft.com/office/powerpoint/2010/main" val="25511978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F8AE7-B9B8-4FA1-A12A-8EDFE0EB474B}"/>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B57BCAEB-B1CC-4D93-BD0D-0816329259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AD7F75F6-2056-4F9B-B2E2-A6369EB479E2}"/>
              </a:ext>
            </a:extLst>
          </p:cNvPr>
          <p:cNvSpPr>
            <a:spLocks noGrp="1"/>
          </p:cNvSpPr>
          <p:nvPr>
            <p:ph type="dt" sz="half" idx="10"/>
          </p:nvPr>
        </p:nvSpPr>
        <p:spPr>
          <a:xfrm>
            <a:off x="838200" y="6356350"/>
            <a:ext cx="2743200" cy="365125"/>
          </a:xfrm>
          <a:prstGeom prst="rect">
            <a:avLst/>
          </a:prstGeom>
        </p:spPr>
        <p:txBody>
          <a:bodyPr/>
          <a:lstStyle/>
          <a:p>
            <a:fld id="{D1D8FF4A-732A-4889-BCD7-9EC347E740EC}" type="datetime1">
              <a:rPr lang="en-AU" smtClean="0"/>
              <a:t>24/07/2024</a:t>
            </a:fld>
            <a:endParaRPr lang="en-AU"/>
          </a:p>
        </p:txBody>
      </p:sp>
      <p:sp>
        <p:nvSpPr>
          <p:cNvPr id="5" name="Footer Placeholder 4">
            <a:extLst>
              <a:ext uri="{FF2B5EF4-FFF2-40B4-BE49-F238E27FC236}">
                <a16:creationId xmlns:a16="http://schemas.microsoft.com/office/drawing/2014/main" id="{13710640-ED6B-4EAE-999E-3E3A8B1C07F6}"/>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6" name="Slide Number Placeholder 5">
            <a:extLst>
              <a:ext uri="{FF2B5EF4-FFF2-40B4-BE49-F238E27FC236}">
                <a16:creationId xmlns:a16="http://schemas.microsoft.com/office/drawing/2014/main" id="{A464823B-0CF0-400C-9C2A-EE4B925CA270}"/>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3124890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85A811-420B-40F8-A1D6-76336EAAFA8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66356895-3EF4-4AEB-8E54-C331DA35C44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FD2B225-9488-4E64-A78D-7697BCAE8894}"/>
              </a:ext>
            </a:extLst>
          </p:cNvPr>
          <p:cNvSpPr>
            <a:spLocks noGrp="1"/>
          </p:cNvSpPr>
          <p:nvPr>
            <p:ph type="dt" sz="half" idx="10"/>
          </p:nvPr>
        </p:nvSpPr>
        <p:spPr>
          <a:xfrm>
            <a:off x="838200" y="6356350"/>
            <a:ext cx="2743200" cy="365125"/>
          </a:xfrm>
          <a:prstGeom prst="rect">
            <a:avLst/>
          </a:prstGeom>
        </p:spPr>
        <p:txBody>
          <a:bodyPr/>
          <a:lstStyle/>
          <a:p>
            <a:fld id="{7C9DC56F-9BA3-4E59-9758-F577E131E62A}" type="datetime1">
              <a:rPr lang="en-AU" smtClean="0"/>
              <a:t>24/07/2024</a:t>
            </a:fld>
            <a:endParaRPr lang="en-AU"/>
          </a:p>
        </p:txBody>
      </p:sp>
      <p:sp>
        <p:nvSpPr>
          <p:cNvPr id="5" name="Footer Placeholder 4">
            <a:extLst>
              <a:ext uri="{FF2B5EF4-FFF2-40B4-BE49-F238E27FC236}">
                <a16:creationId xmlns:a16="http://schemas.microsoft.com/office/drawing/2014/main" id="{A23023B0-C747-46E8-91A5-F47DAF01D124}"/>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6" name="Slide Number Placeholder 5">
            <a:extLst>
              <a:ext uri="{FF2B5EF4-FFF2-40B4-BE49-F238E27FC236}">
                <a16:creationId xmlns:a16="http://schemas.microsoft.com/office/drawing/2014/main" id="{347304A1-0FB7-4ECD-B7E2-3621ACB87DA6}"/>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345493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097F630E-32D2-C24C-9E9E-FAC96E1EEA21}" type="datetimeFigureOut">
              <a:rPr lang="en-US" smtClean="0"/>
              <a:t>7/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DA9DC-BFD5-0B43-8DFB-758CA7AAE8AB}" type="slidenum">
              <a:rPr lang="en-US" smtClean="0"/>
              <a:t>‹#›</a:t>
            </a:fld>
            <a:endParaRPr lang="en-US"/>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2193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7F630E-32D2-C24C-9E9E-FAC96E1EEA21}" type="datetimeFigureOut">
              <a:rPr lang="en-US" smtClean="0"/>
              <a:t>7/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906917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97F630E-32D2-C24C-9E9E-FAC96E1EEA21}" type="datetimeFigureOut">
              <a:rPr lang="en-US" smtClean="0"/>
              <a:t>7/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DA9DC-BFD5-0B43-8DFB-758CA7AAE8AB}" type="slidenum">
              <a:rPr lang="en-US" smtClean="0"/>
              <a:t>‹#›</a:t>
            </a:fld>
            <a:endParaRPr lang="en-US"/>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7961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5"/>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7"/>
            <a:ext cx="4937760" cy="40233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97F630E-32D2-C24C-9E9E-FAC96E1EEA21}" type="datetimeFigureOut">
              <a:rPr lang="en-US" smtClean="0"/>
              <a:t>7/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2705547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5"/>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97F630E-32D2-C24C-9E9E-FAC96E1EEA21}" type="datetimeFigureOut">
              <a:rPr lang="en-US" smtClean="0"/>
              <a:t>7/2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20585878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97F630E-32D2-C24C-9E9E-FAC96E1EEA21}" type="datetimeFigureOut">
              <a:rPr lang="en-US" smtClean="0"/>
              <a:t>7/2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3585662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97F630E-32D2-C24C-9E9E-FAC96E1EEA21}" type="datetimeFigureOut">
              <a:rPr lang="en-US" smtClean="0"/>
              <a:t>7/24/2024</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37031091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8"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613650" y="731520"/>
            <a:ext cx="6679191"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3" y="6459787"/>
            <a:ext cx="2618511" cy="365125"/>
          </a:xfrm>
        </p:spPr>
        <p:txBody>
          <a:bodyPr/>
          <a:lstStyle>
            <a:lvl1pPr algn="l">
              <a:defRPr/>
            </a:lvl1pPr>
          </a:lstStyle>
          <a:p>
            <a:fld id="{097F630E-32D2-C24C-9E9E-FAC96E1EEA21}" type="datetimeFigureOut">
              <a:rPr lang="en-US" smtClean="0"/>
              <a:t>7/24/2024</a:t>
            </a:fld>
            <a:endParaRPr lang="en-US"/>
          </a:p>
        </p:txBody>
      </p:sp>
      <p:sp>
        <p:nvSpPr>
          <p:cNvPr id="6" name="Footer Placeholder 5"/>
          <p:cNvSpPr>
            <a:spLocks noGrp="1"/>
          </p:cNvSpPr>
          <p:nvPr>
            <p:ph type="ftr" sz="quarter" idx="11"/>
          </p:nvPr>
        </p:nvSpPr>
        <p:spPr>
          <a:xfrm>
            <a:off x="4800600" y="6459787"/>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85DA9DC-BFD5-0B43-8DFB-758CA7AAE8AB}" type="slidenum">
              <a:rPr lang="en-US" smtClean="0"/>
              <a:t>‹#›</a:t>
            </a:fld>
            <a:endParaRPr lang="en-US"/>
          </a:p>
        </p:txBody>
      </p:sp>
    </p:spTree>
    <p:extLst>
      <p:ext uri="{BB962C8B-B14F-4D97-AF65-F5344CB8AC3E}">
        <p14:creationId xmlns:p14="http://schemas.microsoft.com/office/powerpoint/2010/main" val="23541685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5837C-A268-49CF-B169-4FF61D4F4948}"/>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9CD783FD-714A-45A4-AF80-12C2449727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Rectangle 6">
            <a:extLst>
              <a:ext uri="{FF2B5EF4-FFF2-40B4-BE49-F238E27FC236}">
                <a16:creationId xmlns:a16="http://schemas.microsoft.com/office/drawing/2014/main" id="{767E295B-CAE2-4135-A9EA-86AF6AC23127}"/>
              </a:ext>
            </a:extLst>
          </p:cNvPr>
          <p:cNvSpPr/>
          <p:nvPr userDrawn="1"/>
        </p:nvSpPr>
        <p:spPr>
          <a:xfrm>
            <a:off x="3175" y="6400800"/>
            <a:ext cx="12185665" cy="457200"/>
          </a:xfrm>
          <a:prstGeom prst="rect">
            <a:avLst/>
          </a:prstGeom>
          <a:solidFill>
            <a:srgbClr val="00727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p>
        </p:txBody>
      </p:sp>
      <p:sp>
        <p:nvSpPr>
          <p:cNvPr id="4" name="Date Placeholder 3">
            <a:extLst>
              <a:ext uri="{FF2B5EF4-FFF2-40B4-BE49-F238E27FC236}">
                <a16:creationId xmlns:a16="http://schemas.microsoft.com/office/drawing/2014/main" id="{26C6BC2B-2B42-47A0-869A-4731001D1450}"/>
              </a:ext>
            </a:extLst>
          </p:cNvPr>
          <p:cNvSpPr>
            <a:spLocks noGrp="1"/>
          </p:cNvSpPr>
          <p:nvPr>
            <p:ph type="dt" sz="half" idx="10"/>
          </p:nvPr>
        </p:nvSpPr>
        <p:spPr>
          <a:xfrm>
            <a:off x="838200" y="6356350"/>
            <a:ext cx="2743200" cy="365125"/>
          </a:xfrm>
          <a:prstGeom prst="rect">
            <a:avLst/>
          </a:prstGeom>
        </p:spPr>
        <p:txBody>
          <a:bodyPr/>
          <a:lstStyle>
            <a:lvl1pPr>
              <a:defRPr>
                <a:solidFill>
                  <a:schemeClr val="bg1"/>
                </a:solidFill>
              </a:defRPr>
            </a:lvl1pPr>
          </a:lstStyle>
          <a:p>
            <a:fld id="{083A1574-8DFE-4FDB-994C-8F007D256371}" type="datetime1">
              <a:rPr lang="en-AU" smtClean="0"/>
              <a:t>24/07/2024</a:t>
            </a:fld>
            <a:endParaRPr lang="en-AU" dirty="0"/>
          </a:p>
        </p:txBody>
      </p:sp>
      <p:sp>
        <p:nvSpPr>
          <p:cNvPr id="5" name="Footer Placeholder 4">
            <a:extLst>
              <a:ext uri="{FF2B5EF4-FFF2-40B4-BE49-F238E27FC236}">
                <a16:creationId xmlns:a16="http://schemas.microsoft.com/office/drawing/2014/main" id="{8B6A50CD-3885-491D-A1E1-3801D5A8DC7F}"/>
              </a:ext>
            </a:extLst>
          </p:cNvPr>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r>
              <a:rPr lang="en-US" dirty="0"/>
              <a:t>Crypto-assets update</a:t>
            </a:r>
            <a:endParaRPr lang="en-AU" dirty="0"/>
          </a:p>
        </p:txBody>
      </p:sp>
      <p:sp>
        <p:nvSpPr>
          <p:cNvPr id="6" name="Slide Number Placeholder 5">
            <a:extLst>
              <a:ext uri="{FF2B5EF4-FFF2-40B4-BE49-F238E27FC236}">
                <a16:creationId xmlns:a16="http://schemas.microsoft.com/office/drawing/2014/main" id="{1A88FC27-B63F-4616-979D-E081D1A498A0}"/>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03F39873-4EE6-4357-A001-6C17E9D52876}" type="slidenum">
              <a:rPr lang="en-AU" smtClean="0"/>
              <a:pPr/>
              <a:t>‹#›</a:t>
            </a:fld>
            <a:endParaRPr lang="en-AU"/>
          </a:p>
        </p:txBody>
      </p:sp>
    </p:spTree>
    <p:extLst>
      <p:ext uri="{BB962C8B-B14F-4D97-AF65-F5344CB8AC3E}">
        <p14:creationId xmlns:p14="http://schemas.microsoft.com/office/powerpoint/2010/main" val="33257248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1"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7"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9360" cy="822960"/>
          </a:xfrm>
        </p:spPr>
        <p:txBody>
          <a:bodyPr tIns="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7"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79" y="5907024"/>
            <a:ext cx="10119360"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97F630E-32D2-C24C-9E9E-FAC96E1EEA21}" type="datetimeFigureOut">
              <a:rPr lang="en-US" smtClean="0"/>
              <a:t>7/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4004260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7F630E-32D2-C24C-9E9E-FAC96E1EEA21}" type="datetimeFigureOut">
              <a:rPr lang="en-US" smtClean="0"/>
              <a:t>7/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457660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1" y="414780"/>
            <a:ext cx="2628900" cy="575742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414779"/>
            <a:ext cx="7734300" cy="5757420"/>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7F630E-32D2-C24C-9E9E-FAC96E1EEA21}" type="datetimeFigureOut">
              <a:rPr lang="en-US" smtClean="0"/>
              <a:t>7/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DA9DC-BFD5-0B43-8DFB-758CA7AAE8AB}" type="slidenum">
              <a:rPr lang="en-US" smtClean="0"/>
              <a:t>‹#›</a:t>
            </a:fld>
            <a:endParaRPr lang="en-US"/>
          </a:p>
        </p:txBody>
      </p:sp>
    </p:spTree>
    <p:extLst>
      <p:ext uri="{BB962C8B-B14F-4D97-AF65-F5344CB8AC3E}">
        <p14:creationId xmlns:p14="http://schemas.microsoft.com/office/powerpoint/2010/main" val="18780479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6A4A8-4874-41BA-8D7A-C40B9682D7C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68BC3774-E024-4ECE-A113-69C3613596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D121A5-D45D-4E78-B772-FACABCFC5452}"/>
              </a:ext>
            </a:extLst>
          </p:cNvPr>
          <p:cNvSpPr>
            <a:spLocks noGrp="1"/>
          </p:cNvSpPr>
          <p:nvPr>
            <p:ph type="dt" sz="half" idx="10"/>
          </p:nvPr>
        </p:nvSpPr>
        <p:spPr>
          <a:xfrm>
            <a:off x="838200" y="6356350"/>
            <a:ext cx="2743200" cy="365125"/>
          </a:xfrm>
          <a:prstGeom prst="rect">
            <a:avLst/>
          </a:prstGeom>
        </p:spPr>
        <p:txBody>
          <a:bodyPr/>
          <a:lstStyle/>
          <a:p>
            <a:fld id="{3A56E963-3E5D-4DB5-9340-D95E69E58164}" type="datetime1">
              <a:rPr lang="en-AU" smtClean="0"/>
              <a:t>24/07/2024</a:t>
            </a:fld>
            <a:endParaRPr lang="en-AU"/>
          </a:p>
        </p:txBody>
      </p:sp>
      <p:sp>
        <p:nvSpPr>
          <p:cNvPr id="5" name="Footer Placeholder 4">
            <a:extLst>
              <a:ext uri="{FF2B5EF4-FFF2-40B4-BE49-F238E27FC236}">
                <a16:creationId xmlns:a16="http://schemas.microsoft.com/office/drawing/2014/main" id="{F9770D28-FE4E-475B-9C0F-81A872BF1E34}"/>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6" name="Slide Number Placeholder 5">
            <a:extLst>
              <a:ext uri="{FF2B5EF4-FFF2-40B4-BE49-F238E27FC236}">
                <a16:creationId xmlns:a16="http://schemas.microsoft.com/office/drawing/2014/main" id="{4E6978C7-BF97-4CDB-8D0B-CBF65DBC23E8}"/>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2163773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0082B-E49E-49B9-B354-009C9BD7ADCE}"/>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BF705AD-F1F1-4AA4-90F8-41A0B4E0415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A559A358-85B3-4DE7-872E-2E9E57E8357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38FCC1E7-BCC2-4451-9BAB-1CF6272E8498}"/>
              </a:ext>
            </a:extLst>
          </p:cNvPr>
          <p:cNvSpPr>
            <a:spLocks noGrp="1"/>
          </p:cNvSpPr>
          <p:nvPr>
            <p:ph type="dt" sz="half" idx="10"/>
          </p:nvPr>
        </p:nvSpPr>
        <p:spPr>
          <a:xfrm>
            <a:off x="838200" y="6356350"/>
            <a:ext cx="2743200" cy="365125"/>
          </a:xfrm>
          <a:prstGeom prst="rect">
            <a:avLst/>
          </a:prstGeom>
        </p:spPr>
        <p:txBody>
          <a:bodyPr/>
          <a:lstStyle/>
          <a:p>
            <a:fld id="{6361620C-3062-4BAD-A9DA-333D73CC2047}" type="datetime1">
              <a:rPr lang="en-AU" smtClean="0"/>
              <a:t>24/07/2024</a:t>
            </a:fld>
            <a:endParaRPr lang="en-AU"/>
          </a:p>
        </p:txBody>
      </p:sp>
      <p:sp>
        <p:nvSpPr>
          <p:cNvPr id="6" name="Footer Placeholder 5">
            <a:extLst>
              <a:ext uri="{FF2B5EF4-FFF2-40B4-BE49-F238E27FC236}">
                <a16:creationId xmlns:a16="http://schemas.microsoft.com/office/drawing/2014/main" id="{A4BB684A-F930-43AD-AF4A-B8FCE32625A0}"/>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7" name="Slide Number Placeholder 6">
            <a:extLst>
              <a:ext uri="{FF2B5EF4-FFF2-40B4-BE49-F238E27FC236}">
                <a16:creationId xmlns:a16="http://schemas.microsoft.com/office/drawing/2014/main" id="{1C1AF049-669A-405A-B328-01B7BD99E23D}"/>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11317771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6418E-215A-42D0-AF31-3DF59EDBBBF4}"/>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DC098542-E071-40CA-9375-B0EB61CBCA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CD98C1-01F7-4947-A2F4-7EA256DBEFF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605484A4-4E8A-4A08-93F6-3467F40CE7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F7D494-C4D6-45AC-B07B-3A5A3074934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BA96E202-714C-46E5-8F90-02C4FC9B6AB7}"/>
              </a:ext>
            </a:extLst>
          </p:cNvPr>
          <p:cNvSpPr>
            <a:spLocks noGrp="1"/>
          </p:cNvSpPr>
          <p:nvPr>
            <p:ph type="dt" sz="half" idx="10"/>
          </p:nvPr>
        </p:nvSpPr>
        <p:spPr>
          <a:xfrm>
            <a:off x="838200" y="6356350"/>
            <a:ext cx="2743200" cy="365125"/>
          </a:xfrm>
          <a:prstGeom prst="rect">
            <a:avLst/>
          </a:prstGeom>
        </p:spPr>
        <p:txBody>
          <a:bodyPr/>
          <a:lstStyle/>
          <a:p>
            <a:fld id="{8303B212-EDCF-4ADD-9E20-66912359D3A9}" type="datetime1">
              <a:rPr lang="en-AU" smtClean="0"/>
              <a:t>24/07/2024</a:t>
            </a:fld>
            <a:endParaRPr lang="en-AU"/>
          </a:p>
        </p:txBody>
      </p:sp>
      <p:sp>
        <p:nvSpPr>
          <p:cNvPr id="8" name="Footer Placeholder 7">
            <a:extLst>
              <a:ext uri="{FF2B5EF4-FFF2-40B4-BE49-F238E27FC236}">
                <a16:creationId xmlns:a16="http://schemas.microsoft.com/office/drawing/2014/main" id="{EA11DB6F-5212-4E8D-B53E-282366B772AC}"/>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9" name="Slide Number Placeholder 8">
            <a:extLst>
              <a:ext uri="{FF2B5EF4-FFF2-40B4-BE49-F238E27FC236}">
                <a16:creationId xmlns:a16="http://schemas.microsoft.com/office/drawing/2014/main" id="{E012A1CE-F802-47F8-B966-8EB0EF5AC298}"/>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2950068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74D98-27E4-428D-A8E4-E16C097D4C4C}"/>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E2C8822B-1501-45AA-9EAC-159480893CB5}"/>
              </a:ext>
            </a:extLst>
          </p:cNvPr>
          <p:cNvSpPr>
            <a:spLocks noGrp="1"/>
          </p:cNvSpPr>
          <p:nvPr>
            <p:ph type="dt" sz="half" idx="10"/>
          </p:nvPr>
        </p:nvSpPr>
        <p:spPr>
          <a:xfrm>
            <a:off x="838200" y="6356350"/>
            <a:ext cx="2743200" cy="365125"/>
          </a:xfrm>
          <a:prstGeom prst="rect">
            <a:avLst/>
          </a:prstGeom>
        </p:spPr>
        <p:txBody>
          <a:bodyPr/>
          <a:lstStyle/>
          <a:p>
            <a:fld id="{C7924D90-42B6-4F4B-9730-E67E3B85F472}" type="datetime1">
              <a:rPr lang="en-AU" smtClean="0"/>
              <a:t>24/07/2024</a:t>
            </a:fld>
            <a:endParaRPr lang="en-AU"/>
          </a:p>
        </p:txBody>
      </p:sp>
      <p:sp>
        <p:nvSpPr>
          <p:cNvPr id="4" name="Footer Placeholder 3">
            <a:extLst>
              <a:ext uri="{FF2B5EF4-FFF2-40B4-BE49-F238E27FC236}">
                <a16:creationId xmlns:a16="http://schemas.microsoft.com/office/drawing/2014/main" id="{5639FFFF-3702-4E07-A03C-4256F9F106D0}"/>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5" name="Slide Number Placeholder 4">
            <a:extLst>
              <a:ext uri="{FF2B5EF4-FFF2-40B4-BE49-F238E27FC236}">
                <a16:creationId xmlns:a16="http://schemas.microsoft.com/office/drawing/2014/main" id="{F79CA21F-DAD0-4807-9E2D-674423B5508F}"/>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4288189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DF7C77-32E4-4B94-9DFE-4904759BBDB6}"/>
              </a:ext>
            </a:extLst>
          </p:cNvPr>
          <p:cNvSpPr>
            <a:spLocks noGrp="1"/>
          </p:cNvSpPr>
          <p:nvPr>
            <p:ph type="dt" sz="half" idx="10"/>
          </p:nvPr>
        </p:nvSpPr>
        <p:spPr>
          <a:xfrm>
            <a:off x="838200" y="6356350"/>
            <a:ext cx="2743200" cy="365125"/>
          </a:xfrm>
          <a:prstGeom prst="rect">
            <a:avLst/>
          </a:prstGeom>
        </p:spPr>
        <p:txBody>
          <a:bodyPr/>
          <a:lstStyle/>
          <a:p>
            <a:fld id="{96AB79A3-81AE-4EFB-AD59-BE6FE530A5D7}" type="datetime1">
              <a:rPr lang="en-AU" smtClean="0"/>
              <a:t>24/07/2024</a:t>
            </a:fld>
            <a:endParaRPr lang="en-AU"/>
          </a:p>
        </p:txBody>
      </p:sp>
      <p:sp>
        <p:nvSpPr>
          <p:cNvPr id="3" name="Footer Placeholder 2">
            <a:extLst>
              <a:ext uri="{FF2B5EF4-FFF2-40B4-BE49-F238E27FC236}">
                <a16:creationId xmlns:a16="http://schemas.microsoft.com/office/drawing/2014/main" id="{2FBE47C5-39BF-4FA9-A597-35D2DCAC4D0E}"/>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4" name="Slide Number Placeholder 3">
            <a:extLst>
              <a:ext uri="{FF2B5EF4-FFF2-40B4-BE49-F238E27FC236}">
                <a16:creationId xmlns:a16="http://schemas.microsoft.com/office/drawing/2014/main" id="{5A8DC1DA-705F-40B7-A6FB-7B39BECDD05E}"/>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302411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E71C3-FD49-46FB-BAEF-17CE209754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CB07581D-13BF-402B-B314-940CEEB075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CB6B2656-36D5-4D79-B8EF-AAF0681B77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4D7111-3254-43C2-9FE1-D654CE1B288D}"/>
              </a:ext>
            </a:extLst>
          </p:cNvPr>
          <p:cNvSpPr>
            <a:spLocks noGrp="1"/>
          </p:cNvSpPr>
          <p:nvPr>
            <p:ph type="dt" sz="half" idx="10"/>
          </p:nvPr>
        </p:nvSpPr>
        <p:spPr>
          <a:xfrm>
            <a:off x="838200" y="6356350"/>
            <a:ext cx="2743200" cy="365125"/>
          </a:xfrm>
          <a:prstGeom prst="rect">
            <a:avLst/>
          </a:prstGeom>
        </p:spPr>
        <p:txBody>
          <a:bodyPr/>
          <a:lstStyle/>
          <a:p>
            <a:fld id="{EABE48F1-57F7-4F9B-8F7B-AE14090B1280}" type="datetime1">
              <a:rPr lang="en-AU" smtClean="0"/>
              <a:t>24/07/2024</a:t>
            </a:fld>
            <a:endParaRPr lang="en-AU"/>
          </a:p>
        </p:txBody>
      </p:sp>
      <p:sp>
        <p:nvSpPr>
          <p:cNvPr id="6" name="Footer Placeholder 5">
            <a:extLst>
              <a:ext uri="{FF2B5EF4-FFF2-40B4-BE49-F238E27FC236}">
                <a16:creationId xmlns:a16="http://schemas.microsoft.com/office/drawing/2014/main" id="{E0CC30CF-8912-46FF-8F20-87F819505723}"/>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7" name="Slide Number Placeholder 6">
            <a:extLst>
              <a:ext uri="{FF2B5EF4-FFF2-40B4-BE49-F238E27FC236}">
                <a16:creationId xmlns:a16="http://schemas.microsoft.com/office/drawing/2014/main" id="{9AEB21AF-C563-42EC-A32F-AB09F66F1FC5}"/>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683730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F6C5D-574C-4993-971E-7B75E0C2E8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10569638-B221-4FBE-9865-15DC5CC72F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38EB44BB-FE76-4FBF-BC36-8B1FECACE7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B48B6-3879-45D5-B614-07E41384C1EF}"/>
              </a:ext>
            </a:extLst>
          </p:cNvPr>
          <p:cNvSpPr>
            <a:spLocks noGrp="1"/>
          </p:cNvSpPr>
          <p:nvPr>
            <p:ph type="dt" sz="half" idx="10"/>
          </p:nvPr>
        </p:nvSpPr>
        <p:spPr>
          <a:xfrm>
            <a:off x="838200" y="6356350"/>
            <a:ext cx="2743200" cy="365125"/>
          </a:xfrm>
          <a:prstGeom prst="rect">
            <a:avLst/>
          </a:prstGeom>
        </p:spPr>
        <p:txBody>
          <a:bodyPr/>
          <a:lstStyle/>
          <a:p>
            <a:fld id="{4338B49C-38D2-406A-8473-4E0C564A00E9}" type="datetime1">
              <a:rPr lang="en-AU" smtClean="0"/>
              <a:t>24/07/2024</a:t>
            </a:fld>
            <a:endParaRPr lang="en-AU"/>
          </a:p>
        </p:txBody>
      </p:sp>
      <p:sp>
        <p:nvSpPr>
          <p:cNvPr id="6" name="Footer Placeholder 5">
            <a:extLst>
              <a:ext uri="{FF2B5EF4-FFF2-40B4-BE49-F238E27FC236}">
                <a16:creationId xmlns:a16="http://schemas.microsoft.com/office/drawing/2014/main" id="{43DBC32E-4906-4422-920F-C656A7D2EC03}"/>
              </a:ext>
            </a:extLst>
          </p:cNvPr>
          <p:cNvSpPr>
            <a:spLocks noGrp="1"/>
          </p:cNvSpPr>
          <p:nvPr>
            <p:ph type="ftr" sz="quarter" idx="11"/>
          </p:nvPr>
        </p:nvSpPr>
        <p:spPr>
          <a:xfrm>
            <a:off x="4038600" y="6356350"/>
            <a:ext cx="4114800" cy="365125"/>
          </a:xfrm>
          <a:prstGeom prst="rect">
            <a:avLst/>
          </a:prstGeom>
        </p:spPr>
        <p:txBody>
          <a:bodyPr/>
          <a:lstStyle/>
          <a:p>
            <a:r>
              <a:rPr lang="en-AU"/>
              <a:t>Crypto-assets update</a:t>
            </a:r>
          </a:p>
        </p:txBody>
      </p:sp>
      <p:sp>
        <p:nvSpPr>
          <p:cNvPr id="7" name="Slide Number Placeholder 6">
            <a:extLst>
              <a:ext uri="{FF2B5EF4-FFF2-40B4-BE49-F238E27FC236}">
                <a16:creationId xmlns:a16="http://schemas.microsoft.com/office/drawing/2014/main" id="{FF228DFA-ABA5-46F5-9758-770456AB620F}"/>
              </a:ext>
            </a:extLst>
          </p:cNvPr>
          <p:cNvSpPr>
            <a:spLocks noGrp="1"/>
          </p:cNvSpPr>
          <p:nvPr>
            <p:ph type="sldNum" sz="quarter" idx="12"/>
          </p:nvPr>
        </p:nvSpPr>
        <p:spPr>
          <a:xfrm>
            <a:off x="8610600" y="6356350"/>
            <a:ext cx="2743200" cy="365125"/>
          </a:xfrm>
          <a:prstGeom prst="rect">
            <a:avLst/>
          </a:prstGeom>
        </p:spPr>
        <p:txBody>
          <a:bodyPr/>
          <a:lstStyle/>
          <a:p>
            <a:fld id="{03F39873-4EE6-4357-A001-6C17E9D52876}" type="slidenum">
              <a:rPr lang="en-AU" smtClean="0"/>
              <a:t>‹#›</a:t>
            </a:fld>
            <a:endParaRPr lang="en-AU"/>
          </a:p>
        </p:txBody>
      </p:sp>
    </p:spTree>
    <p:extLst>
      <p:ext uri="{BB962C8B-B14F-4D97-AF65-F5344CB8AC3E}">
        <p14:creationId xmlns:p14="http://schemas.microsoft.com/office/powerpoint/2010/main" val="1800661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87630E-F4A6-35AA-746C-B7E83A7C64EB}"/>
              </a:ext>
            </a:extLst>
          </p:cNvPr>
          <p:cNvGraphicFramePr>
            <a:graphicFrameLocks noChangeAspect="1"/>
          </p:cNvGraphicFramePr>
          <p:nvPr userDrawn="1">
            <p:custDataLst>
              <p:tags r:id="rId13"/>
            </p:custDataLst>
            <p:extLst>
              <p:ext uri="{D42A27DB-BD31-4B8C-83A1-F6EECF244321}">
                <p14:modId xmlns:p14="http://schemas.microsoft.com/office/powerpoint/2010/main" val="80334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5" name="think-cell data - do not delete" hidden="1">
                        <a:extLst>
                          <a:ext uri="{FF2B5EF4-FFF2-40B4-BE49-F238E27FC236}">
                            <a16:creationId xmlns:a16="http://schemas.microsoft.com/office/drawing/2014/main" id="{D887630E-F4A6-35AA-746C-B7E83A7C64E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20F0D95-8FF3-40C5-B097-AB845B776471}"/>
              </a:ext>
            </a:extLst>
          </p:cNvPr>
          <p:cNvSpPr/>
          <p:nvPr userDrawn="1"/>
        </p:nvSpPr>
        <p:spPr>
          <a:xfrm>
            <a:off x="3175" y="6400800"/>
            <a:ext cx="12185665" cy="457200"/>
          </a:xfrm>
          <a:prstGeom prst="rect">
            <a:avLst/>
          </a:prstGeom>
          <a:solidFill>
            <a:srgbClr val="00727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p>
        </p:txBody>
      </p:sp>
      <p:sp>
        <p:nvSpPr>
          <p:cNvPr id="2" name="Title Placeholder 1">
            <a:extLst>
              <a:ext uri="{FF2B5EF4-FFF2-40B4-BE49-F238E27FC236}">
                <a16:creationId xmlns:a16="http://schemas.microsoft.com/office/drawing/2014/main" id="{DA9D2A08-CCE1-48F4-8C7A-AAD479C886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928EFF40-9647-4416-BED2-ADD8973A0DF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Slide Number Placeholder 7">
            <a:extLst>
              <a:ext uri="{FF2B5EF4-FFF2-40B4-BE49-F238E27FC236}">
                <a16:creationId xmlns:a16="http://schemas.microsoft.com/office/drawing/2014/main" id="{7D1EE9D0-056F-4DF2-9892-00CA8BD34E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18542110-DCEC-464D-B7C8-9878719864BA}" type="slidenum">
              <a:rPr lang="en-AU" smtClean="0"/>
              <a:pPr/>
              <a:t>‹#›</a:t>
            </a:fld>
            <a:endParaRPr lang="en-AU" dirty="0"/>
          </a:p>
        </p:txBody>
      </p:sp>
    </p:spTree>
    <p:extLst>
      <p:ext uri="{BB962C8B-B14F-4D97-AF65-F5344CB8AC3E}">
        <p14:creationId xmlns:p14="http://schemas.microsoft.com/office/powerpoint/2010/main" val="33094298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fld id="{097F630E-32D2-C24C-9E9E-FAC96E1EEA21}" type="datetimeFigureOut">
              <a:rPr lang="en-US" smtClean="0"/>
              <a:t>7/24/2024</a:t>
            </a:fld>
            <a:endParaRPr lang="en-US"/>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fld id="{485DA9DC-BFD5-0B43-8DFB-758CA7AAE8AB}"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1968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www.vicbar.com.au/profile/8372" TargetMode="External"/><Relationship Id="rId2" Type="http://schemas.openxmlformats.org/officeDocument/2006/relationships/hyperlink" Target="mailto:Laurence.White@vicbar.com.au"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mailto:Laurence.White@vicbar.com.au" TargetMode="Externa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3.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4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919D4-5A65-47F8-B22D-0938642B2CF5}"/>
              </a:ext>
            </a:extLst>
          </p:cNvPr>
          <p:cNvSpPr>
            <a:spLocks noGrp="1"/>
          </p:cNvSpPr>
          <p:nvPr>
            <p:ph type="ctrTitle"/>
          </p:nvPr>
        </p:nvSpPr>
        <p:spPr>
          <a:xfrm>
            <a:off x="1036320" y="1122363"/>
            <a:ext cx="10119360" cy="2387600"/>
          </a:xfrm>
        </p:spPr>
        <p:txBody>
          <a:bodyPr>
            <a:normAutofit/>
          </a:bodyPr>
          <a:lstStyle/>
          <a:p>
            <a:r>
              <a:rPr lang="en-US" dirty="0">
                <a:latin typeface="+mn-lt"/>
              </a:rPr>
              <a:t>ETHICS AND COPYRIGHT</a:t>
            </a:r>
            <a:br>
              <a:rPr lang="en-US" dirty="0">
                <a:latin typeface="+mn-lt"/>
              </a:rPr>
            </a:br>
            <a:r>
              <a:rPr lang="en-US" dirty="0">
                <a:latin typeface="+mn-lt"/>
              </a:rPr>
              <a:t>Artificial intelligence </a:t>
            </a:r>
            <a:endParaRPr lang="en-AU" dirty="0">
              <a:latin typeface="+mn-lt"/>
            </a:endParaRPr>
          </a:p>
        </p:txBody>
      </p:sp>
      <p:sp>
        <p:nvSpPr>
          <p:cNvPr id="3" name="Subtitle 2">
            <a:extLst>
              <a:ext uri="{FF2B5EF4-FFF2-40B4-BE49-F238E27FC236}">
                <a16:creationId xmlns:a16="http://schemas.microsoft.com/office/drawing/2014/main" id="{3D3226DF-9DF7-4FB0-B25B-5BD2895F7ED7}"/>
              </a:ext>
            </a:extLst>
          </p:cNvPr>
          <p:cNvSpPr>
            <a:spLocks noGrp="1"/>
          </p:cNvSpPr>
          <p:nvPr>
            <p:ph type="subTitle" idx="1"/>
          </p:nvPr>
        </p:nvSpPr>
        <p:spPr>
          <a:xfrm>
            <a:off x="1524000" y="3602037"/>
            <a:ext cx="9144000" cy="2628433"/>
          </a:xfrm>
        </p:spPr>
        <p:txBody>
          <a:bodyPr>
            <a:normAutofit lnSpcReduction="10000"/>
          </a:bodyPr>
          <a:lstStyle/>
          <a:p>
            <a:r>
              <a:rPr lang="en-AU" dirty="0"/>
              <a:t> </a:t>
            </a:r>
          </a:p>
          <a:p>
            <a:r>
              <a:rPr lang="en-AU" dirty="0"/>
              <a:t>Keely O’Dowd, Lander &amp; Rogers</a:t>
            </a:r>
          </a:p>
          <a:p>
            <a:r>
              <a:rPr lang="en-AU" dirty="0"/>
              <a:t>Scott Traeger, Lander &amp; Rogers</a:t>
            </a:r>
          </a:p>
          <a:p>
            <a:r>
              <a:rPr lang="en-AU" dirty="0"/>
              <a:t>Laurence White, Svenson Barristers</a:t>
            </a:r>
          </a:p>
          <a:p>
            <a:r>
              <a:rPr lang="en-AU" dirty="0"/>
              <a:t>Susan Gatford, Svenson Barristers</a:t>
            </a:r>
          </a:p>
          <a:p>
            <a:r>
              <a:rPr lang="en-AU" dirty="0"/>
              <a:t>July 2024 </a:t>
            </a:r>
          </a:p>
          <a:p>
            <a:endParaRPr lang="en-AU" dirty="0"/>
          </a:p>
        </p:txBody>
      </p:sp>
      <p:pic>
        <p:nvPicPr>
          <p:cNvPr id="4" name="Picture 3" descr="A picture containing object&#10;&#10;Description generated with very high confidence">
            <a:extLst>
              <a:ext uri="{FF2B5EF4-FFF2-40B4-BE49-F238E27FC236}">
                <a16:creationId xmlns:a16="http://schemas.microsoft.com/office/drawing/2014/main" id="{FAF4DACB-35BA-4F5B-B7E9-08E03C2AED1E}"/>
              </a:ext>
            </a:extLst>
          </p:cNvPr>
          <p:cNvPicPr>
            <a:picLocks noChangeAspect="1"/>
          </p:cNvPicPr>
          <p:nvPr/>
        </p:nvPicPr>
        <p:blipFill>
          <a:blip r:embed="rId2"/>
          <a:stretch>
            <a:fillRect/>
          </a:stretch>
        </p:blipFill>
        <p:spPr>
          <a:xfrm>
            <a:off x="9590589" y="356413"/>
            <a:ext cx="1889636" cy="413095"/>
          </a:xfrm>
          <a:prstGeom prst="rect">
            <a:avLst/>
          </a:prstGeom>
          <a:solidFill>
            <a:schemeClr val="bg1"/>
          </a:solidFill>
        </p:spPr>
      </p:pic>
      <p:pic>
        <p:nvPicPr>
          <p:cNvPr id="9" name="Picture 8">
            <a:extLst>
              <a:ext uri="{FF2B5EF4-FFF2-40B4-BE49-F238E27FC236}">
                <a16:creationId xmlns:a16="http://schemas.microsoft.com/office/drawing/2014/main" id="{18A59920-E7F1-8D4A-D8C8-CA6CB2D294A1}"/>
              </a:ext>
            </a:extLst>
          </p:cNvPr>
          <p:cNvPicPr>
            <a:picLocks noChangeAspect="1"/>
          </p:cNvPicPr>
          <p:nvPr/>
        </p:nvPicPr>
        <p:blipFill>
          <a:blip r:embed="rId3"/>
          <a:stretch>
            <a:fillRect/>
          </a:stretch>
        </p:blipFill>
        <p:spPr>
          <a:xfrm>
            <a:off x="711775" y="356413"/>
            <a:ext cx="1146147" cy="384081"/>
          </a:xfrm>
          <a:prstGeom prst="rect">
            <a:avLst/>
          </a:prstGeom>
        </p:spPr>
      </p:pic>
    </p:spTree>
    <p:extLst>
      <p:ext uri="{BB962C8B-B14F-4D97-AF65-F5344CB8AC3E}">
        <p14:creationId xmlns:p14="http://schemas.microsoft.com/office/powerpoint/2010/main" val="23886350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2F0C3-0D85-758E-413F-3FEB1CB9EEC4}"/>
              </a:ext>
            </a:extLst>
          </p:cNvPr>
          <p:cNvSpPr>
            <a:spLocks noGrp="1"/>
          </p:cNvSpPr>
          <p:nvPr>
            <p:ph type="title"/>
          </p:nvPr>
        </p:nvSpPr>
        <p:spPr/>
        <p:txBody>
          <a:bodyPr/>
          <a:lstStyle/>
          <a:p>
            <a:r>
              <a:rPr kumimoji="0" lang="en-US" altLang="en-US" sz="4400" b="0" i="0" u="none" strike="noStrike" cap="none" normalizeH="0" baseline="0" dirty="0">
                <a:ln>
                  <a:noFill/>
                </a:ln>
                <a:solidFill>
                  <a:schemeClr val="tx1"/>
                </a:solidFill>
                <a:effectLst/>
                <a:latin typeface="Arial" panose="020B0604020202020204" pitchFamily="34" charset="0"/>
              </a:rPr>
              <a:t>Legal Profession Uniform Law Australian Solicitors' Conduct Rules 2015</a:t>
            </a:r>
            <a:endParaRPr lang="en-AU" dirty="0"/>
          </a:p>
        </p:txBody>
      </p:sp>
      <p:sp>
        <p:nvSpPr>
          <p:cNvPr id="4" name="Slide Number Placeholder 3">
            <a:extLst>
              <a:ext uri="{FF2B5EF4-FFF2-40B4-BE49-F238E27FC236}">
                <a16:creationId xmlns:a16="http://schemas.microsoft.com/office/drawing/2014/main" id="{3581DB46-E28F-76B8-547E-745BA7CACD3D}"/>
              </a:ext>
            </a:extLst>
          </p:cNvPr>
          <p:cNvSpPr>
            <a:spLocks noGrp="1"/>
          </p:cNvSpPr>
          <p:nvPr>
            <p:ph type="sldNum" sz="quarter" idx="12"/>
          </p:nvPr>
        </p:nvSpPr>
        <p:spPr/>
        <p:txBody>
          <a:bodyPr/>
          <a:lstStyle/>
          <a:p>
            <a:fld id="{03F39873-4EE6-4357-A001-6C17E9D52876}" type="slidenum">
              <a:rPr lang="en-AU" smtClean="0"/>
              <a:pPr/>
              <a:t>10</a:t>
            </a:fld>
            <a:endParaRPr lang="en-AU"/>
          </a:p>
        </p:txBody>
      </p:sp>
      <p:sp>
        <p:nvSpPr>
          <p:cNvPr id="5" name="Rectangle 1">
            <a:extLst>
              <a:ext uri="{FF2B5EF4-FFF2-40B4-BE49-F238E27FC236}">
                <a16:creationId xmlns:a16="http://schemas.microsoft.com/office/drawing/2014/main" id="{F18856B7-A756-05D7-7FCC-D437BE283E72}"/>
              </a:ext>
            </a:extLst>
          </p:cNvPr>
          <p:cNvSpPr>
            <a:spLocks noGrp="1" noChangeArrowheads="1"/>
          </p:cNvSpPr>
          <p:nvPr>
            <p:ph idx="1"/>
          </p:nvPr>
        </p:nvSpPr>
        <p:spPr bwMode="auto">
          <a:xfrm>
            <a:off x="838200" y="1431361"/>
            <a:ext cx="10756899" cy="5139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None/>
              <a:tabLst/>
            </a:pPr>
            <a:endParaRPr kumimoji="0" lang="en-US" altLang="en-US" sz="2400" b="0" i="0" u="none" strike="noStrike" cap="none" normalizeH="0" baseline="0" dirty="0">
              <a:ln>
                <a:noFill/>
              </a:ln>
              <a:solidFill>
                <a:schemeClr val="tx1"/>
              </a:solidFill>
              <a:effectLst/>
              <a:latin typeface="Arial" panose="020B0604020202020204" pitchFamily="34" charset="0"/>
            </a:endParaRPr>
          </a:p>
          <a:p>
            <a:pPr eaLnBrk="0" fontAlgn="base" hangingPunct="0">
              <a:lnSpc>
                <a:spcPct val="100000"/>
              </a:lnSpc>
              <a:spcBef>
                <a:spcPct val="0"/>
              </a:spcBef>
              <a:spcAft>
                <a:spcPct val="0"/>
              </a:spcAft>
            </a:pPr>
            <a:r>
              <a:rPr kumimoji="0" lang="en-US" altLang="en-US" sz="2400" b="0" i="0" u="none" strike="noStrike" cap="none" normalizeH="0" baseline="0" dirty="0">
                <a:ln>
                  <a:noFill/>
                </a:ln>
                <a:solidFill>
                  <a:schemeClr val="tx1"/>
                </a:solidFill>
                <a:effectLst/>
                <a:latin typeface="Arial" panose="020B0604020202020204" pitchFamily="34" charset="0"/>
              </a:rPr>
              <a:t>Rule 4: Competence, integrity and honesty - lawyers are responsible for advice accuracy </a:t>
            </a:r>
          </a:p>
          <a:p>
            <a:pPr eaLnBrk="0" fontAlgn="base" hangingPunct="0">
              <a:lnSpc>
                <a:spcPct val="100000"/>
              </a:lnSpc>
              <a:spcBef>
                <a:spcPct val="0"/>
              </a:spcBef>
              <a:spcAft>
                <a:spcPct val="0"/>
              </a:spcAft>
            </a:pPr>
            <a:r>
              <a:rPr kumimoji="0" lang="en-US" altLang="en-US" sz="2400" b="0" i="0" u="none" strike="noStrike" cap="none" normalizeH="0" baseline="0" dirty="0">
                <a:ln>
                  <a:noFill/>
                </a:ln>
                <a:solidFill>
                  <a:schemeClr val="tx1"/>
                </a:solidFill>
                <a:effectLst/>
                <a:latin typeface="Arial" panose="020B0604020202020204" pitchFamily="34" charset="0"/>
              </a:rPr>
              <a:t>Rule 9: Confidentiality - inputting client info into public AI may breach confidentiality </a:t>
            </a:r>
          </a:p>
          <a:p>
            <a:pPr lvl="1" eaLnBrk="0" fontAlgn="base" hangingPunct="0">
              <a:lnSpc>
                <a:spcPct val="100000"/>
              </a:lnSpc>
              <a:spcBef>
                <a:spcPct val="0"/>
              </a:spcBef>
              <a:spcAft>
                <a:spcPct val="0"/>
              </a:spcAft>
            </a:pPr>
            <a:r>
              <a:rPr lang="en-US" altLang="en-US" sz="2000" dirty="0">
                <a:latin typeface="Arial" panose="020B0604020202020204" pitchFamily="34" charset="0"/>
              </a:rPr>
              <a:t>Enterprise Ts &amp; Cs may promise privacy – but see next slide</a:t>
            </a:r>
          </a:p>
          <a:p>
            <a:pPr lvl="1" eaLnBrk="0" fontAlgn="base" hangingPunct="0">
              <a:lnSpc>
                <a:spcPct val="100000"/>
              </a:lnSpc>
              <a:spcBef>
                <a:spcPct val="0"/>
              </a:spcBef>
              <a:spcAft>
                <a:spcPct val="0"/>
              </a:spcAft>
            </a:pPr>
            <a:r>
              <a:rPr kumimoji="0" lang="en-US" altLang="en-US" sz="2000" b="0" i="0" u="none" strike="noStrike" cap="none" normalizeH="0" baseline="0" dirty="0">
                <a:ln>
                  <a:noFill/>
                </a:ln>
                <a:solidFill>
                  <a:schemeClr val="tx1"/>
                </a:solidFill>
                <a:effectLst/>
                <a:latin typeface="Arial" panose="020B0604020202020204" pitchFamily="34" charset="0"/>
              </a:rPr>
              <a:t>Private instance of LLM may overcome confidentiality concerns</a:t>
            </a:r>
          </a:p>
          <a:p>
            <a:pPr eaLnBrk="0" fontAlgn="base" hangingPunct="0">
              <a:lnSpc>
                <a:spcPct val="100000"/>
              </a:lnSpc>
              <a:spcBef>
                <a:spcPct val="0"/>
              </a:spcBef>
              <a:spcAft>
                <a:spcPct val="0"/>
              </a:spcAft>
            </a:pPr>
            <a:r>
              <a:rPr kumimoji="0" lang="en-US" altLang="en-US" sz="2400" b="0" i="0" u="none" strike="noStrike" cap="none" normalizeH="0" baseline="0" dirty="0">
                <a:ln>
                  <a:noFill/>
                </a:ln>
                <a:solidFill>
                  <a:schemeClr val="tx1"/>
                </a:solidFill>
                <a:effectLst/>
                <a:latin typeface="Arial" panose="020B0604020202020204" pitchFamily="34" charset="0"/>
              </a:rPr>
              <a:t>Rule 17: Independence - lawyers must exercise independent judgment, not just defer to AI </a:t>
            </a:r>
          </a:p>
          <a:p>
            <a:pPr eaLnBrk="0" fontAlgn="base" hangingPunct="0">
              <a:lnSpc>
                <a:spcPct val="100000"/>
              </a:lnSpc>
              <a:spcBef>
                <a:spcPct val="0"/>
              </a:spcBef>
              <a:spcAft>
                <a:spcPct val="0"/>
              </a:spcAft>
            </a:pPr>
            <a:r>
              <a:rPr kumimoji="0" lang="en-US" altLang="en-US" sz="2400" b="0" i="0" u="none" strike="noStrike" cap="none" normalizeH="0" baseline="0" dirty="0">
                <a:ln>
                  <a:noFill/>
                </a:ln>
                <a:solidFill>
                  <a:schemeClr val="tx1"/>
                </a:solidFill>
                <a:effectLst/>
                <a:latin typeface="Arial" panose="020B0604020202020204" pitchFamily="34" charset="0"/>
              </a:rPr>
              <a:t>Rule 19: Duty to the court - lawyers must ensure AI-produced material is valid and not misleading </a:t>
            </a:r>
          </a:p>
          <a:p>
            <a:pPr eaLnBrk="0" fontAlgn="base" hangingPunct="0">
              <a:lnSpc>
                <a:spcPct val="100000"/>
              </a:lnSpc>
              <a:spcBef>
                <a:spcPct val="0"/>
              </a:spcBef>
              <a:spcAft>
                <a:spcPct val="0"/>
              </a:spcAft>
            </a:pPr>
            <a:r>
              <a:rPr kumimoji="0" lang="en-US" altLang="en-US" sz="2400" b="0" i="0" u="none" strike="noStrike" cap="none" normalizeH="0" baseline="0" dirty="0">
                <a:ln>
                  <a:noFill/>
                </a:ln>
                <a:solidFill>
                  <a:schemeClr val="tx1"/>
                </a:solidFill>
                <a:effectLst/>
                <a:latin typeface="Arial" panose="020B0604020202020204" pitchFamily="34" charset="0"/>
              </a:rPr>
              <a:t>Rule 37: Supervision - those supervising junior lawyers must critically evaluate AI output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994509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AA33F53-80F6-3335-7DB5-73FF5D20DF74}"/>
              </a:ext>
            </a:extLst>
          </p:cNvPr>
          <p:cNvGraphicFramePr>
            <a:graphicFrameLocks noChangeAspect="1"/>
          </p:cNvGraphicFramePr>
          <p:nvPr>
            <p:custDataLst>
              <p:tags r:id="rId1"/>
            </p:custDataLst>
            <p:extLst>
              <p:ext uri="{D42A27DB-BD31-4B8C-83A1-F6EECF244321}">
                <p14:modId xmlns:p14="http://schemas.microsoft.com/office/powerpoint/2010/main" val="3118386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0AA33F53-80F6-3335-7DB5-73FF5D20D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80299C-EE5D-CC42-29CC-90CA51878BFD}"/>
              </a:ext>
            </a:extLst>
          </p:cNvPr>
          <p:cNvSpPr>
            <a:spLocks noGrp="1"/>
          </p:cNvSpPr>
          <p:nvPr>
            <p:ph type="title"/>
          </p:nvPr>
        </p:nvSpPr>
        <p:spPr>
          <a:xfrm>
            <a:off x="838200" y="-155468"/>
            <a:ext cx="10515600" cy="1325563"/>
          </a:xfrm>
        </p:spPr>
        <p:txBody>
          <a:bodyPr vert="horz"/>
          <a:lstStyle/>
          <a:p>
            <a:r>
              <a:rPr lang="en-AU" dirty="0">
                <a:solidFill>
                  <a:srgbClr val="000000"/>
                </a:solidFill>
                <a:effectLst/>
                <a:latin typeface="Calibri" panose="020F0502020204030204" pitchFamily="34" charset="0"/>
                <a:ea typeface="Times New Roman" panose="02020603050405020304" pitchFamily="18" charset="0"/>
              </a:rPr>
              <a:t>Terms and conditions / privacy policies</a:t>
            </a:r>
            <a:endParaRPr lang="en-AU" dirty="0"/>
          </a:p>
        </p:txBody>
      </p:sp>
      <p:sp>
        <p:nvSpPr>
          <p:cNvPr id="3" name="Content Placeholder 2">
            <a:extLst>
              <a:ext uri="{FF2B5EF4-FFF2-40B4-BE49-F238E27FC236}">
                <a16:creationId xmlns:a16="http://schemas.microsoft.com/office/drawing/2014/main" id="{20671BA6-7DD2-EFCA-2060-E26E059399BE}"/>
              </a:ext>
            </a:extLst>
          </p:cNvPr>
          <p:cNvSpPr>
            <a:spLocks noGrp="1"/>
          </p:cNvSpPr>
          <p:nvPr>
            <p:ph idx="1"/>
          </p:nvPr>
        </p:nvSpPr>
        <p:spPr>
          <a:xfrm>
            <a:off x="838200" y="1068082"/>
            <a:ext cx="10515600" cy="5348086"/>
          </a:xfrm>
        </p:spPr>
        <p:txBody>
          <a:bodyPr>
            <a:normAutofit fontScale="62500" lnSpcReduction="20000"/>
          </a:bodyPr>
          <a:lstStyle/>
          <a:p>
            <a:r>
              <a:rPr lang="en-AU" dirty="0"/>
              <a:t>Terms and Conditions and Privacy Policies are often hard to find or consist of many documents (e.g. Microsoft Copilot / O 365 )</a:t>
            </a:r>
          </a:p>
          <a:p>
            <a:r>
              <a:rPr lang="en-AU" dirty="0"/>
              <a:t>Consumer Ts &amp; Cs differ from “Plus” paid Ts &amp; Cs which may also differ from Enterprise Ts &amp; Cs, which may be bespoke</a:t>
            </a:r>
          </a:p>
          <a:p>
            <a:r>
              <a:rPr lang="en-AU" dirty="0"/>
              <a:t>T &amp; Cs also change frequently and without notice</a:t>
            </a:r>
          </a:p>
          <a:p>
            <a:pPr lvl="1"/>
            <a:r>
              <a:rPr lang="en-AU" dirty="0"/>
              <a:t>How often are you willing to do due diligence?</a:t>
            </a:r>
          </a:p>
          <a:p>
            <a:pPr lvl="1"/>
            <a:r>
              <a:rPr lang="en-AU" dirty="0"/>
              <a:t>Do you have a robust process to document / archive Ts &amp; Cs?</a:t>
            </a:r>
          </a:p>
          <a:p>
            <a:r>
              <a:rPr lang="en-AU" dirty="0"/>
              <a:t>Generally, consumer and some “Plus” paid Ts &amp; Cs do not promise that user input will not be used to train the LLM</a:t>
            </a:r>
          </a:p>
          <a:p>
            <a:pPr lvl="1"/>
            <a:r>
              <a:rPr lang="en-AU" dirty="0"/>
              <a:t>Danger of information leakage to model owner</a:t>
            </a:r>
          </a:p>
          <a:p>
            <a:pPr lvl="1"/>
            <a:r>
              <a:rPr lang="en-AU" dirty="0"/>
              <a:t>Danger of information leakage to other users</a:t>
            </a:r>
          </a:p>
          <a:p>
            <a:pPr lvl="1"/>
            <a:r>
              <a:rPr lang="en-AU" dirty="0"/>
              <a:t>Do you understand what could happen with your/your client’s data?</a:t>
            </a:r>
          </a:p>
          <a:p>
            <a:pPr lvl="1"/>
            <a:r>
              <a:rPr lang="en-AU" dirty="0"/>
              <a:t>Could your client give informed consent?</a:t>
            </a:r>
          </a:p>
          <a:p>
            <a:r>
              <a:rPr lang="en-AU" dirty="0"/>
              <a:t>Mid-tier plans often have patchy privacy/confidentiality – e.g. Open AI Plus – private setting is device-level not account-level</a:t>
            </a:r>
          </a:p>
          <a:p>
            <a:r>
              <a:rPr lang="en-AU" dirty="0"/>
              <a:t>Enterprise Ts &amp; Cs differ but often contain a promise of sorts not to use prompts or outputs to train the model</a:t>
            </a:r>
          </a:p>
          <a:p>
            <a:r>
              <a:rPr lang="en-AU" dirty="0"/>
              <a:t>APIs – Ts &amp; Cs will differ again and will be relevant where a public LLM is integrated into another product (such as Smokeball) </a:t>
            </a:r>
          </a:p>
          <a:p>
            <a:r>
              <a:rPr lang="en-AU" dirty="0"/>
              <a:t>Privacy policies will cover personal identifying information (PII) but may not cover business confidential information at all. Jurisdictional questions may be quite thorny (</a:t>
            </a:r>
            <a:r>
              <a:rPr lang="en-AU" dirty="0" err="1"/>
              <a:t>eg</a:t>
            </a:r>
            <a:r>
              <a:rPr lang="en-AU" dirty="0"/>
              <a:t> does Australia’s Privacy Act apply?).</a:t>
            </a:r>
          </a:p>
        </p:txBody>
      </p:sp>
      <p:sp>
        <p:nvSpPr>
          <p:cNvPr id="4" name="Slide Number Placeholder 3">
            <a:extLst>
              <a:ext uri="{FF2B5EF4-FFF2-40B4-BE49-F238E27FC236}">
                <a16:creationId xmlns:a16="http://schemas.microsoft.com/office/drawing/2014/main" id="{B70B792C-403C-039B-BBE6-B5B60D319EBD}"/>
              </a:ext>
            </a:extLst>
          </p:cNvPr>
          <p:cNvSpPr>
            <a:spLocks noGrp="1"/>
          </p:cNvSpPr>
          <p:nvPr>
            <p:ph type="sldNum" sz="quarter" idx="12"/>
          </p:nvPr>
        </p:nvSpPr>
        <p:spPr/>
        <p:txBody>
          <a:bodyPr/>
          <a:lstStyle/>
          <a:p>
            <a:fld id="{03F39873-4EE6-4357-A001-6C17E9D52876}" type="slidenum">
              <a:rPr lang="en-AU" smtClean="0"/>
              <a:pPr/>
              <a:t>11</a:t>
            </a:fld>
            <a:endParaRPr lang="en-AU"/>
          </a:p>
        </p:txBody>
      </p:sp>
    </p:spTree>
    <p:extLst>
      <p:ext uri="{BB962C8B-B14F-4D97-AF65-F5344CB8AC3E}">
        <p14:creationId xmlns:p14="http://schemas.microsoft.com/office/powerpoint/2010/main" val="2969446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1A9B9-C72D-BEDF-E0FF-9F74BA35D30F}"/>
              </a:ext>
            </a:extLst>
          </p:cNvPr>
          <p:cNvSpPr>
            <a:spLocks noGrp="1"/>
          </p:cNvSpPr>
          <p:nvPr>
            <p:ph type="title"/>
          </p:nvPr>
        </p:nvSpPr>
        <p:spPr>
          <a:xfrm>
            <a:off x="838200" y="260033"/>
            <a:ext cx="10515600" cy="1325563"/>
          </a:xfrm>
        </p:spPr>
        <p:txBody>
          <a:bodyPr/>
          <a:lstStyle/>
          <a:p>
            <a:r>
              <a:rPr lang="en-AU" dirty="0"/>
              <a:t>Victorian Supreme Court guidelines on the responsible use of AI in litigation (May 2024)</a:t>
            </a:r>
          </a:p>
        </p:txBody>
      </p:sp>
      <p:sp>
        <p:nvSpPr>
          <p:cNvPr id="5" name="Content Placeholder 4">
            <a:extLst>
              <a:ext uri="{FF2B5EF4-FFF2-40B4-BE49-F238E27FC236}">
                <a16:creationId xmlns:a16="http://schemas.microsoft.com/office/drawing/2014/main" id="{122A114E-E89E-F900-4F2D-0CED4BA0B3C6}"/>
              </a:ext>
            </a:extLst>
          </p:cNvPr>
          <p:cNvSpPr>
            <a:spLocks noGrp="1"/>
          </p:cNvSpPr>
          <p:nvPr>
            <p:ph idx="1"/>
          </p:nvPr>
        </p:nvSpPr>
        <p:spPr>
          <a:xfrm>
            <a:off x="838200" y="1585596"/>
            <a:ext cx="10515600" cy="4845684"/>
          </a:xfrm>
        </p:spPr>
        <p:txBody>
          <a:bodyPr>
            <a:normAutofit fontScale="62500" lnSpcReduction="20000"/>
          </a:bodyPr>
          <a:lstStyle/>
          <a:p>
            <a:r>
              <a:rPr lang="en-US" dirty="0"/>
              <a:t>Parties and practitioners using AI tools in litigation should understand how they work and their limitations. </a:t>
            </a:r>
          </a:p>
          <a:p>
            <a:r>
              <a:rPr lang="en-US" dirty="0"/>
              <a:t>Information provided to external AI programs may not be private, confidential or secure.</a:t>
            </a:r>
          </a:p>
          <a:p>
            <a:r>
              <a:rPr lang="en-US" dirty="0"/>
              <a:t>Use of AI must not mislead others in the litigation process. Where appropriate, AI assistance should be disclosed to other parties and the court. Self-represented litigants are encouraged to identify when they have used generative AI to prepare documents. </a:t>
            </a:r>
          </a:p>
          <a:p>
            <a:r>
              <a:rPr lang="en-US" dirty="0"/>
              <a:t>Practitioners must still meet their obligations of </a:t>
            </a:r>
            <a:r>
              <a:rPr lang="en-US" dirty="0" err="1"/>
              <a:t>candour</a:t>
            </a:r>
            <a:r>
              <a:rPr lang="en-US" dirty="0"/>
              <a:t> to the court when using AI. Technology Assisted Review using machine learning for document review is encouraged when appropriate. </a:t>
            </a:r>
            <a:r>
              <a:rPr lang="en-US" dirty="0" err="1"/>
              <a:t>Specialised</a:t>
            </a:r>
            <a:r>
              <a:rPr lang="en-US" dirty="0"/>
              <a:t> legal AI tools are likely more useful and reliable than general-purpose tools.</a:t>
            </a:r>
          </a:p>
          <a:p>
            <a:r>
              <a:rPr lang="en-US" dirty="0"/>
              <a:t>Parties and practitioners remain responsible for the accuracy of documents filed with the court, even if AI assisted in preparing them. Documents and submissions made using AI must still have a proper basis. Generative AI output should be carefully checked by practitioners for issues like being out-of-date, incomplete, inaccurate, inapplicable to the jurisdiction, or biased. </a:t>
            </a:r>
          </a:p>
          <a:p>
            <a:r>
              <a:rPr lang="en-US" dirty="0"/>
              <a:t>Particular caution is needed if using generative AI to assist with affidavits, witness statements or expert reports, to ensure they reflect the knowledge and words of the relevant person.</a:t>
            </a:r>
          </a:p>
          <a:p>
            <a:r>
              <a:rPr lang="en-US" dirty="0"/>
              <a:t>AI and reasoning? </a:t>
            </a:r>
          </a:p>
          <a:p>
            <a:pPr lvl="1"/>
            <a:r>
              <a:rPr lang="en-US" dirty="0"/>
              <a:t>"Generative AI and Large Language Models create output that is not the product of reasoning. Nor are they a legal research tool. They use probability to predict a given sequence of words."</a:t>
            </a:r>
          </a:p>
          <a:p>
            <a:pPr lvl="1"/>
            <a:r>
              <a:rPr lang="en-US" dirty="0"/>
              <a:t>"AI is not presently used for decision making nor used to develop or prepare reasons for decision because it does not engage in a reasoning process nor a process specific to the circumstance before the court."</a:t>
            </a:r>
          </a:p>
        </p:txBody>
      </p:sp>
      <p:sp>
        <p:nvSpPr>
          <p:cNvPr id="4" name="Slide Number Placeholder 3">
            <a:extLst>
              <a:ext uri="{FF2B5EF4-FFF2-40B4-BE49-F238E27FC236}">
                <a16:creationId xmlns:a16="http://schemas.microsoft.com/office/drawing/2014/main" id="{4D884630-63D3-E464-EBD2-47565A05B0E0}"/>
              </a:ext>
            </a:extLst>
          </p:cNvPr>
          <p:cNvSpPr>
            <a:spLocks noGrp="1"/>
          </p:cNvSpPr>
          <p:nvPr>
            <p:ph type="sldNum" sz="quarter" idx="12"/>
          </p:nvPr>
        </p:nvSpPr>
        <p:spPr/>
        <p:txBody>
          <a:bodyPr/>
          <a:lstStyle/>
          <a:p>
            <a:fld id="{03F39873-4EE6-4357-A001-6C17E9D52876}" type="slidenum">
              <a:rPr lang="en-AU" smtClean="0"/>
              <a:pPr/>
              <a:t>12</a:t>
            </a:fld>
            <a:endParaRPr lang="en-AU"/>
          </a:p>
        </p:txBody>
      </p:sp>
    </p:spTree>
    <p:extLst>
      <p:ext uri="{BB962C8B-B14F-4D97-AF65-F5344CB8AC3E}">
        <p14:creationId xmlns:p14="http://schemas.microsoft.com/office/powerpoint/2010/main" val="1676261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8485F-1BC4-671E-CA4F-C4D0FC2DC0F2}"/>
              </a:ext>
            </a:extLst>
          </p:cNvPr>
          <p:cNvSpPr>
            <a:spLocks noGrp="1"/>
          </p:cNvSpPr>
          <p:nvPr>
            <p:ph type="title"/>
          </p:nvPr>
        </p:nvSpPr>
        <p:spPr/>
        <p:txBody>
          <a:bodyPr>
            <a:normAutofit fontScale="90000"/>
          </a:bodyPr>
          <a:lstStyle/>
          <a:p>
            <a:r>
              <a:rPr lang="en-US" dirty="0"/>
              <a:t>Law Society of NSW - Practice management tips: </a:t>
            </a:r>
            <a:br>
              <a:rPr lang="en-US" dirty="0"/>
            </a:br>
            <a:endParaRPr lang="en-AU" dirty="0"/>
          </a:p>
        </p:txBody>
      </p:sp>
      <p:sp>
        <p:nvSpPr>
          <p:cNvPr id="3" name="Content Placeholder 2">
            <a:extLst>
              <a:ext uri="{FF2B5EF4-FFF2-40B4-BE49-F238E27FC236}">
                <a16:creationId xmlns:a16="http://schemas.microsoft.com/office/drawing/2014/main" id="{3E64F27B-E375-5032-10D7-4B19B39AAEFD}"/>
              </a:ext>
            </a:extLst>
          </p:cNvPr>
          <p:cNvSpPr>
            <a:spLocks noGrp="1"/>
          </p:cNvSpPr>
          <p:nvPr>
            <p:ph idx="1"/>
          </p:nvPr>
        </p:nvSpPr>
        <p:spPr/>
        <p:txBody>
          <a:bodyPr/>
          <a:lstStyle/>
          <a:p>
            <a:r>
              <a:rPr lang="en-US" dirty="0"/>
              <a:t>Exercise same [or more!] care with AI as with human legal assistants</a:t>
            </a:r>
          </a:p>
          <a:p>
            <a:r>
              <a:rPr lang="en-US" dirty="0"/>
              <a:t>AI should supplement, not substitute, legal services</a:t>
            </a:r>
          </a:p>
          <a:p>
            <a:r>
              <a:rPr lang="en-US" dirty="0"/>
              <a:t>Educate employees on AI risks and benefits</a:t>
            </a:r>
          </a:p>
          <a:p>
            <a:r>
              <a:rPr lang="en-US" dirty="0"/>
              <a:t>Use precise prompts to improve AI output specificity and quality</a:t>
            </a:r>
          </a:p>
          <a:p>
            <a:endParaRPr lang="en-US" dirty="0"/>
          </a:p>
          <a:p>
            <a:r>
              <a:rPr lang="en-US" dirty="0"/>
              <a:t>Source: Law Society Journal, “A solicitor’s guide to responsible AI use”.</a:t>
            </a:r>
          </a:p>
          <a:p>
            <a:endParaRPr lang="en-AU" dirty="0"/>
          </a:p>
        </p:txBody>
      </p:sp>
      <p:sp>
        <p:nvSpPr>
          <p:cNvPr id="4" name="Slide Number Placeholder 3">
            <a:extLst>
              <a:ext uri="{FF2B5EF4-FFF2-40B4-BE49-F238E27FC236}">
                <a16:creationId xmlns:a16="http://schemas.microsoft.com/office/drawing/2014/main" id="{ADDF0061-EECD-E605-9457-4C93C51A6A1C}"/>
              </a:ext>
            </a:extLst>
          </p:cNvPr>
          <p:cNvSpPr>
            <a:spLocks noGrp="1"/>
          </p:cNvSpPr>
          <p:nvPr>
            <p:ph type="sldNum" sz="quarter" idx="12"/>
          </p:nvPr>
        </p:nvSpPr>
        <p:spPr/>
        <p:txBody>
          <a:bodyPr/>
          <a:lstStyle/>
          <a:p>
            <a:fld id="{03F39873-4EE6-4357-A001-6C17E9D52876}" type="slidenum">
              <a:rPr lang="en-AU" smtClean="0"/>
              <a:pPr/>
              <a:t>13</a:t>
            </a:fld>
            <a:endParaRPr lang="en-AU"/>
          </a:p>
        </p:txBody>
      </p:sp>
    </p:spTree>
    <p:extLst>
      <p:ext uri="{BB962C8B-B14F-4D97-AF65-F5344CB8AC3E}">
        <p14:creationId xmlns:p14="http://schemas.microsoft.com/office/powerpoint/2010/main" val="2295097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FDFE1-0836-5588-6E07-60ABD60CAD1D}"/>
              </a:ext>
            </a:extLst>
          </p:cNvPr>
          <p:cNvSpPr>
            <a:spLocks noGrp="1"/>
          </p:cNvSpPr>
          <p:nvPr>
            <p:ph type="title"/>
          </p:nvPr>
        </p:nvSpPr>
        <p:spPr/>
        <p:txBody>
          <a:bodyPr/>
          <a:lstStyle/>
          <a:p>
            <a:r>
              <a:rPr lang="en-AU" dirty="0"/>
              <a:t>Tentative conclusions</a:t>
            </a:r>
          </a:p>
        </p:txBody>
      </p:sp>
      <p:sp>
        <p:nvSpPr>
          <p:cNvPr id="4" name="Slide Number Placeholder 3">
            <a:extLst>
              <a:ext uri="{FF2B5EF4-FFF2-40B4-BE49-F238E27FC236}">
                <a16:creationId xmlns:a16="http://schemas.microsoft.com/office/drawing/2014/main" id="{4CFA46AE-A946-CFE4-69CC-81060B5AC179}"/>
              </a:ext>
            </a:extLst>
          </p:cNvPr>
          <p:cNvSpPr>
            <a:spLocks noGrp="1"/>
          </p:cNvSpPr>
          <p:nvPr>
            <p:ph type="sldNum" sz="quarter" idx="12"/>
          </p:nvPr>
        </p:nvSpPr>
        <p:spPr/>
        <p:txBody>
          <a:bodyPr/>
          <a:lstStyle/>
          <a:p>
            <a:fld id="{03F39873-4EE6-4357-A001-6C17E9D52876}" type="slidenum">
              <a:rPr lang="en-AU" smtClean="0"/>
              <a:pPr/>
              <a:t>14</a:t>
            </a:fld>
            <a:endParaRPr lang="en-AU"/>
          </a:p>
        </p:txBody>
      </p:sp>
      <p:sp>
        <p:nvSpPr>
          <p:cNvPr id="6" name="Content Placeholder 5">
            <a:extLst>
              <a:ext uri="{FF2B5EF4-FFF2-40B4-BE49-F238E27FC236}">
                <a16:creationId xmlns:a16="http://schemas.microsoft.com/office/drawing/2014/main" id="{8865A8EE-1CF0-2179-F894-FF84C9F6D4C3}"/>
              </a:ext>
            </a:extLst>
          </p:cNvPr>
          <p:cNvSpPr>
            <a:spLocks noGrp="1"/>
          </p:cNvSpPr>
          <p:nvPr>
            <p:ph idx="1"/>
          </p:nvPr>
        </p:nvSpPr>
        <p:spPr>
          <a:xfrm>
            <a:off x="838200" y="1564368"/>
            <a:ext cx="10515600" cy="4351338"/>
          </a:xfrm>
        </p:spPr>
        <p:txBody>
          <a:bodyPr>
            <a:normAutofit fontScale="92500" lnSpcReduction="10000"/>
          </a:bodyPr>
          <a:lstStyle/>
          <a:p>
            <a:r>
              <a:rPr lang="en-US" dirty="0"/>
              <a:t>Balance to be struck between extreme conservatism and extreme freedom</a:t>
            </a:r>
          </a:p>
          <a:p>
            <a:r>
              <a:rPr lang="en-US" dirty="0"/>
              <a:t>Provide your employees with corporate AI tools – lest they use personal AI tools to help them in their work</a:t>
            </a:r>
          </a:p>
          <a:p>
            <a:r>
              <a:rPr lang="en-US" dirty="0"/>
              <a:t>Guard against dangers of over-reliance on AI and de-skilling – 2</a:t>
            </a:r>
            <a:r>
              <a:rPr lang="en-US" baseline="30000" dirty="0"/>
              <a:t>nd</a:t>
            </a:r>
            <a:r>
              <a:rPr lang="en-US" dirty="0"/>
              <a:t> pair of (human?) eyes</a:t>
            </a:r>
          </a:p>
          <a:p>
            <a:r>
              <a:rPr lang="en-US" dirty="0"/>
              <a:t>The “arms race” among providers will continue</a:t>
            </a:r>
          </a:p>
          <a:p>
            <a:r>
              <a:rPr lang="en-US" dirty="0"/>
              <a:t>AI will continue to become “vanilla” and be embedded in most legal information products</a:t>
            </a:r>
          </a:p>
          <a:p>
            <a:r>
              <a:rPr lang="en-US" dirty="0"/>
              <a:t>Basic legal research/writing and basic document summarization tasks may become commoditized – many will seek to focus on oral communication and face to face or other skills that will be less exposed</a:t>
            </a:r>
            <a:endParaRPr lang="en-AU" dirty="0"/>
          </a:p>
        </p:txBody>
      </p:sp>
    </p:spTree>
    <p:extLst>
      <p:ext uri="{BB962C8B-B14F-4D97-AF65-F5344CB8AC3E}">
        <p14:creationId xmlns:p14="http://schemas.microsoft.com/office/powerpoint/2010/main" val="21782060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C060D3-900F-EA3E-46C9-38E69C8B45F3}"/>
              </a:ext>
            </a:extLst>
          </p:cNvPr>
          <p:cNvGraphicFramePr>
            <a:graphicFrameLocks noChangeAspect="1"/>
          </p:cNvGraphicFramePr>
          <p:nvPr>
            <p:custDataLst>
              <p:tags r:id="rId1"/>
            </p:custDataLst>
            <p:extLst>
              <p:ext uri="{D42A27DB-BD31-4B8C-83A1-F6EECF244321}">
                <p14:modId xmlns:p14="http://schemas.microsoft.com/office/powerpoint/2010/main" val="409930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16C060D3-900F-EA3E-46C9-38E69C8B4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406C9F9-DBB4-DDFA-658E-167B54E302A3}"/>
              </a:ext>
            </a:extLst>
          </p:cNvPr>
          <p:cNvSpPr>
            <a:spLocks noGrp="1"/>
          </p:cNvSpPr>
          <p:nvPr>
            <p:ph type="ctrTitle"/>
          </p:nvPr>
        </p:nvSpPr>
        <p:spPr>
          <a:xfrm>
            <a:off x="1424107" y="1929186"/>
            <a:ext cx="9144000" cy="2387600"/>
          </a:xfrm>
        </p:spPr>
        <p:txBody>
          <a:bodyPr vert="horz"/>
          <a:lstStyle/>
          <a:p>
            <a:r>
              <a:rPr lang="en-AU" dirty="0"/>
              <a:t>Case studies (with Keely O’Dowd) </a:t>
            </a:r>
          </a:p>
        </p:txBody>
      </p:sp>
      <p:sp>
        <p:nvSpPr>
          <p:cNvPr id="4" name="Slide Number Placeholder 3">
            <a:extLst>
              <a:ext uri="{FF2B5EF4-FFF2-40B4-BE49-F238E27FC236}">
                <a16:creationId xmlns:a16="http://schemas.microsoft.com/office/drawing/2014/main" id="{E45D05BA-CAB3-3B9D-B4AD-D61EF04EB528}"/>
              </a:ext>
            </a:extLst>
          </p:cNvPr>
          <p:cNvSpPr>
            <a:spLocks noGrp="1"/>
          </p:cNvSpPr>
          <p:nvPr>
            <p:ph type="sldNum" sz="quarter" idx="12"/>
          </p:nvPr>
        </p:nvSpPr>
        <p:spPr/>
        <p:txBody>
          <a:bodyPr/>
          <a:lstStyle/>
          <a:p>
            <a:fld id="{03F39873-4EE6-4357-A001-6C17E9D52876}" type="slidenum">
              <a:rPr lang="en-AU" smtClean="0"/>
              <a:pPr/>
              <a:t>15</a:t>
            </a:fld>
            <a:endParaRPr lang="en-AU"/>
          </a:p>
        </p:txBody>
      </p:sp>
    </p:spTree>
    <p:extLst>
      <p:ext uri="{BB962C8B-B14F-4D97-AF65-F5344CB8AC3E}">
        <p14:creationId xmlns:p14="http://schemas.microsoft.com/office/powerpoint/2010/main" val="303700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FDFE1-0836-5588-6E07-60ABD60CAD1D}"/>
              </a:ext>
            </a:extLst>
          </p:cNvPr>
          <p:cNvSpPr>
            <a:spLocks noGrp="1"/>
          </p:cNvSpPr>
          <p:nvPr>
            <p:ph type="title"/>
          </p:nvPr>
        </p:nvSpPr>
        <p:spPr>
          <a:xfrm>
            <a:off x="838200" y="166951"/>
            <a:ext cx="10515600" cy="1325563"/>
          </a:xfrm>
        </p:spPr>
        <p:txBody>
          <a:bodyPr>
            <a:normAutofit/>
          </a:bodyPr>
          <a:lstStyle/>
          <a:p>
            <a:r>
              <a:rPr lang="en-AU" sz="3200" dirty="0">
                <a:latin typeface="Arial" panose="020B0604020202020204" pitchFamily="34" charset="0"/>
                <a:cs typeface="Arial" panose="020B0604020202020204" pitchFamily="34" charset="0"/>
              </a:rPr>
              <a:t>Case study 1</a:t>
            </a:r>
          </a:p>
        </p:txBody>
      </p:sp>
      <p:sp>
        <p:nvSpPr>
          <p:cNvPr id="4" name="Slide Number Placeholder 3">
            <a:extLst>
              <a:ext uri="{FF2B5EF4-FFF2-40B4-BE49-F238E27FC236}">
                <a16:creationId xmlns:a16="http://schemas.microsoft.com/office/drawing/2014/main" id="{4CFA46AE-A946-CFE4-69CC-81060B5AC179}"/>
              </a:ext>
            </a:extLst>
          </p:cNvPr>
          <p:cNvSpPr>
            <a:spLocks noGrp="1"/>
          </p:cNvSpPr>
          <p:nvPr>
            <p:ph type="sldNum" sz="quarter" idx="12"/>
          </p:nvPr>
        </p:nvSpPr>
        <p:spPr/>
        <p:txBody>
          <a:bodyPr/>
          <a:lstStyle/>
          <a:p>
            <a:fld id="{03F39873-4EE6-4357-A001-6C17E9D52876}" type="slidenum">
              <a:rPr lang="en-AU" smtClean="0"/>
              <a:pPr/>
              <a:t>16</a:t>
            </a:fld>
            <a:endParaRPr lang="en-AU"/>
          </a:p>
        </p:txBody>
      </p:sp>
      <p:sp>
        <p:nvSpPr>
          <p:cNvPr id="6" name="Content Placeholder 5">
            <a:extLst>
              <a:ext uri="{FF2B5EF4-FFF2-40B4-BE49-F238E27FC236}">
                <a16:creationId xmlns:a16="http://schemas.microsoft.com/office/drawing/2014/main" id="{8865A8EE-1CF0-2179-F894-FF84C9F6D4C3}"/>
              </a:ext>
            </a:extLst>
          </p:cNvPr>
          <p:cNvSpPr>
            <a:spLocks noGrp="1"/>
          </p:cNvSpPr>
          <p:nvPr>
            <p:ph idx="1"/>
          </p:nvPr>
        </p:nvSpPr>
        <p:spPr>
          <a:xfrm>
            <a:off x="838200" y="1385359"/>
            <a:ext cx="10515600" cy="4642908"/>
          </a:xfrm>
        </p:spPr>
        <p:txBody>
          <a:bodyPr>
            <a:normAutofit lnSpcReduction="10000"/>
          </a:bodyPr>
          <a:lstStyle/>
          <a:p>
            <a:pPr marL="0" indent="0">
              <a:buNone/>
            </a:pPr>
            <a:r>
              <a:rPr lang="en-US" dirty="0">
                <a:latin typeface="Arial" panose="020B0604020202020204" pitchFamily="34" charset="0"/>
                <a:cs typeface="Arial" panose="020B0604020202020204" pitchFamily="34" charset="0"/>
              </a:rPr>
              <a:t>Scenario</a:t>
            </a:r>
          </a:p>
          <a:p>
            <a:r>
              <a:rPr lang="en-US" sz="2000" dirty="0">
                <a:latin typeface="Arial" panose="020B0604020202020204" pitchFamily="34" charset="0"/>
                <a:cs typeface="Arial" panose="020B0604020202020204" pitchFamily="34" charset="0"/>
              </a:rPr>
              <a:t>You are a senior lawyer at a firm which embraces legal technology and providing efficient and innovative solutions for clients.</a:t>
            </a:r>
          </a:p>
          <a:p>
            <a:r>
              <a:rPr lang="en-US" sz="2000" dirty="0">
                <a:latin typeface="Arial" panose="020B0604020202020204" pitchFamily="34" charset="0"/>
                <a:cs typeface="Arial" panose="020B0604020202020204" pitchFamily="34" charset="0"/>
              </a:rPr>
              <a:t>It is 4:30 pm on a Friday and a client operating in the online retail space is eagerly awaiting some consumer law advice, before it goes live with a new sales promotion on the weekend.</a:t>
            </a:r>
          </a:p>
          <a:p>
            <a:r>
              <a:rPr lang="en-US" sz="2000" dirty="0">
                <a:latin typeface="Arial" panose="020B0604020202020204" pitchFamily="34" charset="0"/>
                <a:cs typeface="Arial" panose="020B0604020202020204" pitchFamily="34" charset="0"/>
              </a:rPr>
              <a:t>Using ChatGPT you have generated a draft advice memo.  The draft advice addresses all the points you would have considered, and it aligns with a precedent advice prepared by a colleague who regularly practices in consumer law.  </a:t>
            </a:r>
          </a:p>
          <a:p>
            <a:r>
              <a:rPr lang="en-US" sz="2000" dirty="0">
                <a:latin typeface="Arial" panose="020B0604020202020204" pitchFamily="34" charset="0"/>
                <a:cs typeface="Arial" panose="020B0604020202020204" pitchFamily="34" charset="0"/>
              </a:rPr>
              <a:t>Aside for some non-substantive amendments to specifically address the client’s factual matrix and some reformatting, you send the advice out by 5:00 pm (this will be a big win for the client and the firm)!</a:t>
            </a:r>
          </a:p>
          <a:p>
            <a:pPr marL="0" indent="0">
              <a:buNone/>
            </a:pPr>
            <a:endParaRPr lang="en-US" sz="2000" dirty="0">
              <a:latin typeface="Arial" panose="020B0604020202020204" pitchFamily="34" charset="0"/>
              <a:cs typeface="Arial" panose="020B0604020202020204" pitchFamily="34" charset="0"/>
            </a:endParaRPr>
          </a:p>
          <a:p>
            <a:pPr marL="0" indent="0">
              <a:buNone/>
            </a:pPr>
            <a:r>
              <a:rPr lang="en-US" sz="2000" dirty="0">
                <a:latin typeface="Arial" panose="020B0604020202020204" pitchFamily="34" charset="0"/>
                <a:cs typeface="Arial" panose="020B0604020202020204" pitchFamily="34" charset="0"/>
              </a:rPr>
              <a:t>What are some relevant considerations that come to mind from this scenario?</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19386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FDFE1-0836-5588-6E07-60ABD60CAD1D}"/>
              </a:ext>
            </a:extLst>
          </p:cNvPr>
          <p:cNvSpPr>
            <a:spLocks noGrp="1"/>
          </p:cNvSpPr>
          <p:nvPr>
            <p:ph type="title"/>
          </p:nvPr>
        </p:nvSpPr>
        <p:spPr>
          <a:xfrm>
            <a:off x="838200" y="166951"/>
            <a:ext cx="10515600" cy="1325563"/>
          </a:xfrm>
        </p:spPr>
        <p:txBody>
          <a:bodyPr>
            <a:normAutofit/>
          </a:bodyPr>
          <a:lstStyle/>
          <a:p>
            <a:r>
              <a:rPr lang="en-AU" sz="3200" dirty="0">
                <a:latin typeface="Arial" panose="020B0604020202020204" pitchFamily="34" charset="0"/>
                <a:cs typeface="Arial" panose="020B0604020202020204" pitchFamily="34" charset="0"/>
              </a:rPr>
              <a:t>Case study 2</a:t>
            </a:r>
          </a:p>
        </p:txBody>
      </p:sp>
      <p:sp>
        <p:nvSpPr>
          <p:cNvPr id="4" name="Slide Number Placeholder 3">
            <a:extLst>
              <a:ext uri="{FF2B5EF4-FFF2-40B4-BE49-F238E27FC236}">
                <a16:creationId xmlns:a16="http://schemas.microsoft.com/office/drawing/2014/main" id="{4CFA46AE-A946-CFE4-69CC-81060B5AC179}"/>
              </a:ext>
            </a:extLst>
          </p:cNvPr>
          <p:cNvSpPr>
            <a:spLocks noGrp="1"/>
          </p:cNvSpPr>
          <p:nvPr>
            <p:ph type="sldNum" sz="quarter" idx="12"/>
          </p:nvPr>
        </p:nvSpPr>
        <p:spPr/>
        <p:txBody>
          <a:bodyPr/>
          <a:lstStyle/>
          <a:p>
            <a:fld id="{03F39873-4EE6-4357-A001-6C17E9D52876}" type="slidenum">
              <a:rPr lang="en-AU" smtClean="0"/>
              <a:pPr/>
              <a:t>17</a:t>
            </a:fld>
            <a:endParaRPr lang="en-AU"/>
          </a:p>
        </p:txBody>
      </p:sp>
      <p:sp>
        <p:nvSpPr>
          <p:cNvPr id="6" name="Content Placeholder 5">
            <a:extLst>
              <a:ext uri="{FF2B5EF4-FFF2-40B4-BE49-F238E27FC236}">
                <a16:creationId xmlns:a16="http://schemas.microsoft.com/office/drawing/2014/main" id="{8865A8EE-1CF0-2179-F894-FF84C9F6D4C3}"/>
              </a:ext>
            </a:extLst>
          </p:cNvPr>
          <p:cNvSpPr>
            <a:spLocks noGrp="1"/>
          </p:cNvSpPr>
          <p:nvPr>
            <p:ph idx="1"/>
          </p:nvPr>
        </p:nvSpPr>
        <p:spPr>
          <a:xfrm>
            <a:off x="838200" y="1385359"/>
            <a:ext cx="10515600" cy="4642908"/>
          </a:xfrm>
        </p:spPr>
        <p:txBody>
          <a:bodyPr>
            <a:normAutofit lnSpcReduction="10000"/>
          </a:bodyPr>
          <a:lstStyle/>
          <a:p>
            <a:pPr marL="0" indent="0">
              <a:buNone/>
            </a:pPr>
            <a:r>
              <a:rPr lang="en-US" dirty="0">
                <a:latin typeface="Arial" panose="020B0604020202020204" pitchFamily="34" charset="0"/>
                <a:cs typeface="Arial" panose="020B0604020202020204" pitchFamily="34" charset="0"/>
              </a:rPr>
              <a:t>Scenario</a:t>
            </a:r>
          </a:p>
          <a:p>
            <a:r>
              <a:rPr lang="en-US" sz="2000" dirty="0">
                <a:latin typeface="Arial" panose="020B0604020202020204" pitchFamily="34" charset="0"/>
                <a:cs typeface="Arial" panose="020B0604020202020204" pitchFamily="34" charset="0"/>
              </a:rPr>
              <a:t>You (being a senior lawyer) are working on a litigious matter, for which a junior lawyer, Josephine, is assisting you.</a:t>
            </a:r>
          </a:p>
          <a:p>
            <a:r>
              <a:rPr lang="en-US" sz="2000" dirty="0">
                <a:latin typeface="Arial" panose="020B0604020202020204" pitchFamily="34" charset="0"/>
                <a:cs typeface="Arial" panose="020B0604020202020204" pitchFamily="34" charset="0"/>
              </a:rPr>
              <a:t>Josephine is proactive and tech savvy.  You have given her the responsibility of interviewing the client and preparing an affidavit.  You are confident that Josephine will do a good job as she has done this task before (and after all you trained her).</a:t>
            </a:r>
          </a:p>
          <a:p>
            <a:r>
              <a:rPr lang="en-US" sz="2000" dirty="0">
                <a:latin typeface="Arial" panose="020B0604020202020204" pitchFamily="34" charset="0"/>
                <a:cs typeface="Arial" panose="020B0604020202020204" pitchFamily="34" charset="0"/>
              </a:rPr>
              <a:t>Josephine has sent across the affidavit for your approval and notes that she used MS CoPilot to transcribe the recorded client meeting (which was held via MS Teams) and then instructed CoPilot to use the transcription to prepare an affidavit.  She has confirmed that she has already proof read the affidavit.</a:t>
            </a:r>
          </a:p>
          <a:p>
            <a:r>
              <a:rPr lang="en-US" sz="2000" dirty="0">
                <a:latin typeface="Arial" panose="020B0604020202020204" pitchFamily="34" charset="0"/>
                <a:cs typeface="Arial" panose="020B0604020202020204" pitchFamily="34" charset="0"/>
              </a:rPr>
              <a:t>You are impressed with Josephine’s resourcefulness, the efficiency will be welcomed by the client! </a:t>
            </a:r>
          </a:p>
          <a:p>
            <a:pPr marL="0" indent="0">
              <a:buNone/>
            </a:pPr>
            <a:endParaRPr lang="en-US" sz="2000" dirty="0">
              <a:latin typeface="Arial" panose="020B0604020202020204" pitchFamily="34" charset="0"/>
              <a:cs typeface="Arial" panose="020B0604020202020204" pitchFamily="34" charset="0"/>
            </a:endParaRPr>
          </a:p>
          <a:p>
            <a:pPr marL="0" indent="0">
              <a:buNone/>
            </a:pPr>
            <a:r>
              <a:rPr lang="en-US" sz="2000" dirty="0">
                <a:latin typeface="Arial" panose="020B0604020202020204" pitchFamily="34" charset="0"/>
                <a:cs typeface="Arial" panose="020B0604020202020204" pitchFamily="34" charset="0"/>
              </a:rPr>
              <a:t>What are some relevant considerations that come to mind from this scenario?</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73817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296EBB3-D211-4607-846F-D920C8E5A381}"/>
              </a:ext>
            </a:extLst>
          </p:cNvPr>
          <p:cNvSpPr>
            <a:spLocks noGrp="1"/>
          </p:cNvSpPr>
          <p:nvPr>
            <p:ph type="sldNum" sz="quarter" idx="12"/>
          </p:nvPr>
        </p:nvSpPr>
        <p:spPr/>
        <p:txBody>
          <a:bodyPr/>
          <a:lstStyle/>
          <a:p>
            <a:fld id="{03F39873-4EE6-4357-A001-6C17E9D52876}" type="slidenum">
              <a:rPr lang="en-AU" smtClean="0"/>
              <a:pPr/>
              <a:t>18</a:t>
            </a:fld>
            <a:endParaRPr lang="en-AU"/>
          </a:p>
        </p:txBody>
      </p:sp>
      <p:sp>
        <p:nvSpPr>
          <p:cNvPr id="7" name="Content Placeholder 2">
            <a:extLst>
              <a:ext uri="{FF2B5EF4-FFF2-40B4-BE49-F238E27FC236}">
                <a16:creationId xmlns:a16="http://schemas.microsoft.com/office/drawing/2014/main" id="{2561F4B7-C28A-4585-B4D1-159F7916B147}"/>
              </a:ext>
            </a:extLst>
          </p:cNvPr>
          <p:cNvSpPr txBox="1">
            <a:spLocks/>
          </p:cNvSpPr>
          <p:nvPr/>
        </p:nvSpPr>
        <p:spPr>
          <a:xfrm>
            <a:off x="2779955" y="1850739"/>
            <a:ext cx="6507480" cy="372191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2400" b="1" dirty="0">
                <a:latin typeface="Calibri" panose="020F0502020204030204" pitchFamily="34" charset="0"/>
                <a:ea typeface="Calibri" panose="020F0502020204030204" pitchFamily="34" charset="0"/>
              </a:rPr>
              <a:t>Laurence F. White</a:t>
            </a:r>
            <a:br>
              <a:rPr lang="en-AU" sz="2400" b="1" dirty="0">
                <a:latin typeface="Calibri" panose="020F0502020204030204" pitchFamily="34" charset="0"/>
                <a:ea typeface="Calibri" panose="020F0502020204030204" pitchFamily="34" charset="0"/>
              </a:rPr>
            </a:br>
            <a:r>
              <a:rPr lang="en-AU" sz="2400" b="1" dirty="0">
                <a:latin typeface="Calibri" panose="020F0502020204030204" pitchFamily="34" charset="0"/>
                <a:ea typeface="Calibri" panose="020F0502020204030204" pitchFamily="34" charset="0"/>
              </a:rPr>
              <a:t>Barrister</a:t>
            </a:r>
          </a:p>
          <a:p>
            <a:pPr marL="0" indent="0" algn="ctr">
              <a:buFont typeface="Arial" panose="020B0604020202020204" pitchFamily="34" charset="0"/>
              <a:buNone/>
            </a:pPr>
            <a:r>
              <a:rPr lang="en-AU" sz="2400" dirty="0">
                <a:latin typeface="Calibri" panose="020F0502020204030204" pitchFamily="34" charset="0"/>
                <a:ea typeface="Calibri" panose="020F0502020204030204" pitchFamily="34" charset="0"/>
              </a:rPr>
              <a:t>Owen Dixon Chambers West</a:t>
            </a:r>
          </a:p>
          <a:p>
            <a:pPr marL="0" indent="0" algn="ctr">
              <a:buFont typeface="Arial" panose="020B0604020202020204" pitchFamily="34" charset="0"/>
              <a:buNone/>
            </a:pPr>
            <a:r>
              <a:rPr lang="en-AU" sz="2400" dirty="0">
                <a:latin typeface="Calibri" panose="020F0502020204030204" pitchFamily="34" charset="0"/>
                <a:ea typeface="Calibri" panose="020F0502020204030204" pitchFamily="34" charset="0"/>
              </a:rPr>
              <a:t>Phone: +61 3 9225 6038 </a:t>
            </a:r>
            <a:br>
              <a:rPr lang="en-AU" sz="2400" dirty="0">
                <a:latin typeface="Calibri" panose="020F0502020204030204" pitchFamily="34" charset="0"/>
                <a:ea typeface="Calibri" panose="020F0502020204030204" pitchFamily="34" charset="0"/>
              </a:rPr>
            </a:br>
            <a:r>
              <a:rPr lang="en-AU" sz="2400" dirty="0">
                <a:latin typeface="Calibri" panose="020F0502020204030204" pitchFamily="34" charset="0"/>
                <a:ea typeface="Calibri" panose="020F0502020204030204" pitchFamily="34" charset="0"/>
              </a:rPr>
              <a:t>Clerk: Svenson Barristers | +61 3 9225 7333 </a:t>
            </a:r>
          </a:p>
          <a:p>
            <a:pPr marL="0" indent="0" algn="ctr">
              <a:buFont typeface="Arial" panose="020B0604020202020204" pitchFamily="34" charset="0"/>
              <a:buNone/>
            </a:pPr>
            <a:r>
              <a:rPr lang="en-AU" sz="2400" dirty="0">
                <a:latin typeface="Calibri" panose="020F0502020204030204" pitchFamily="34" charset="0"/>
                <a:ea typeface="Calibri" panose="020F0502020204030204" pitchFamily="34" charset="0"/>
                <a:hlinkClick r:id="rId2"/>
              </a:rPr>
              <a:t>Laurence.White@vicbar.com.au</a:t>
            </a:r>
            <a:r>
              <a:rPr lang="en-AU" sz="2400" dirty="0">
                <a:latin typeface="Calibri" panose="020F0502020204030204" pitchFamily="34" charset="0"/>
                <a:ea typeface="Calibri" panose="020F0502020204030204" pitchFamily="34" charset="0"/>
              </a:rPr>
              <a:t> </a:t>
            </a:r>
          </a:p>
          <a:p>
            <a:pPr marL="0" indent="0" algn="ctr">
              <a:buFont typeface="Arial" panose="020B0604020202020204" pitchFamily="34" charset="0"/>
              <a:buNone/>
            </a:pPr>
            <a:r>
              <a:rPr lang="en-AU" sz="2000" u="sng" dirty="0">
                <a:solidFill>
                  <a:srgbClr val="1E145B"/>
                </a:solidFill>
                <a:latin typeface="Calibri" panose="020F0502020204030204" pitchFamily="34" charset="0"/>
                <a:ea typeface="Calibri" panose="020F0502020204030204" pitchFamily="34" charset="0"/>
                <a:hlinkClick r:id="rId3"/>
              </a:rPr>
              <a:t>www.vicbar.com.au/profile/8372</a:t>
            </a:r>
            <a:r>
              <a:rPr lang="en-AU" sz="2000" u="sng" dirty="0">
                <a:solidFill>
                  <a:srgbClr val="1E145B"/>
                </a:solidFill>
                <a:latin typeface="Calibri" panose="020F0502020204030204" pitchFamily="34" charset="0"/>
                <a:ea typeface="Calibri" panose="020F0502020204030204" pitchFamily="34" charset="0"/>
              </a:rPr>
              <a:t> </a:t>
            </a:r>
          </a:p>
          <a:p>
            <a:pPr marL="0" indent="0" algn="ctr">
              <a:buFont typeface="Arial" panose="020B0604020202020204" pitchFamily="34" charset="0"/>
              <a:buNone/>
            </a:pPr>
            <a:r>
              <a:rPr lang="en-AU" sz="1800" i="1" dirty="0">
                <a:latin typeface="Calibri" panose="020F0502020204030204" pitchFamily="34" charset="0"/>
              </a:rPr>
              <a:t>Liability limited by a scheme approved under professional standards legislation. </a:t>
            </a:r>
          </a:p>
          <a:p>
            <a:pPr marL="0" indent="0" algn="ctr">
              <a:buFont typeface="Arial" panose="020B0604020202020204" pitchFamily="34" charset="0"/>
              <a:buNone/>
            </a:pPr>
            <a:r>
              <a:rPr lang="en-AU" sz="1800" i="1" dirty="0">
                <a:latin typeface="Calibri" panose="020F0502020204030204" pitchFamily="34" charset="0"/>
              </a:rPr>
              <a:t>This presentation does not constitute legal advice. </a:t>
            </a:r>
          </a:p>
          <a:p>
            <a:pPr marL="0" indent="0" algn="ctr">
              <a:buFont typeface="Arial" panose="020B0604020202020204" pitchFamily="34" charset="0"/>
              <a:buNone/>
            </a:pPr>
            <a:r>
              <a:rPr lang="en-AU" sz="1800" i="1" dirty="0">
                <a:latin typeface="Calibri" panose="020F0502020204030204" pitchFamily="34" charset="0"/>
              </a:rPr>
              <a:t>No representation is made as to the accuracy of material cited or reproduced.</a:t>
            </a:r>
            <a:endParaRPr lang="en-AU" sz="2400" dirty="0">
              <a:latin typeface="Calibri" panose="020F0502020204030204" pitchFamily="34" charset="0"/>
            </a:endParaRPr>
          </a:p>
          <a:p>
            <a:endParaRPr lang="en-AU" dirty="0"/>
          </a:p>
        </p:txBody>
      </p:sp>
    </p:spTree>
    <p:extLst>
      <p:ext uri="{BB962C8B-B14F-4D97-AF65-F5344CB8AC3E}">
        <p14:creationId xmlns:p14="http://schemas.microsoft.com/office/powerpoint/2010/main" val="29429799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00065" y="146305"/>
            <a:ext cx="8079691" cy="1992889"/>
          </a:xfrm>
        </p:spPr>
        <p:txBody>
          <a:bodyPr>
            <a:normAutofit/>
          </a:bodyPr>
          <a:lstStyle/>
          <a:p>
            <a:pPr algn="ctr"/>
            <a:r>
              <a:rPr lang="en-GB" sz="4400" b="1" dirty="0"/>
              <a:t>Copyright and Artificial Intelligence Systems</a:t>
            </a:r>
            <a:endParaRPr lang="en-US" sz="4400" b="1" dirty="0"/>
          </a:p>
        </p:txBody>
      </p:sp>
      <p:sp>
        <p:nvSpPr>
          <p:cNvPr id="5" name="Subtitle 4">
            <a:extLst>
              <a:ext uri="{FF2B5EF4-FFF2-40B4-BE49-F238E27FC236}">
                <a16:creationId xmlns:a16="http://schemas.microsoft.com/office/drawing/2014/main" id="{CE21E0DC-C058-4545-84EF-B9E59A5CB963}"/>
              </a:ext>
            </a:extLst>
          </p:cNvPr>
          <p:cNvSpPr>
            <a:spLocks noGrp="1"/>
          </p:cNvSpPr>
          <p:nvPr>
            <p:ph type="subTitle" idx="1"/>
          </p:nvPr>
        </p:nvSpPr>
        <p:spPr>
          <a:xfrm>
            <a:off x="6154724" y="3112317"/>
            <a:ext cx="3833769" cy="3274197"/>
          </a:xfrm>
        </p:spPr>
        <p:txBody>
          <a:bodyPr>
            <a:normAutofit fontScale="92500" lnSpcReduction="20000"/>
          </a:bodyPr>
          <a:lstStyle/>
          <a:p>
            <a:pPr algn="ctr">
              <a:spcAft>
                <a:spcPts val="1200"/>
              </a:spcAft>
            </a:pPr>
            <a:r>
              <a:rPr lang="en-AU" sz="4000" b="1" dirty="0"/>
              <a:t>SUSAN GATFORD</a:t>
            </a:r>
          </a:p>
          <a:p>
            <a:endParaRPr lang="en-AU" b="1" dirty="0"/>
          </a:p>
          <a:p>
            <a:endParaRPr lang="en-AU" b="1" dirty="0"/>
          </a:p>
          <a:p>
            <a:r>
              <a:rPr lang="en-AU" sz="2600" b="1" dirty="0"/>
              <a:t>COMMERCIAL BARRISTER</a:t>
            </a:r>
          </a:p>
          <a:p>
            <a:r>
              <a:rPr lang="en-AU" sz="2600" b="1" dirty="0"/>
              <a:t>NATIONALLY ACCREDITED MEDIATOR </a:t>
            </a:r>
          </a:p>
          <a:p>
            <a:r>
              <a:rPr lang="en-AU" sz="2600" b="1" dirty="0"/>
              <a:t>TRADE MARK ATTORNEY</a:t>
            </a:r>
            <a:br>
              <a:rPr lang="en-AU" b="1" dirty="0"/>
            </a:br>
            <a:endParaRPr lang="en-AU" b="1" dirty="0"/>
          </a:p>
          <a:p>
            <a:endParaRPr lang="en-AU" b="1" dirty="0"/>
          </a:p>
        </p:txBody>
      </p:sp>
      <p:pic>
        <p:nvPicPr>
          <p:cNvPr id="4" name="Picture 3">
            <a:extLst>
              <a:ext uri="{FF2B5EF4-FFF2-40B4-BE49-F238E27FC236}">
                <a16:creationId xmlns:a16="http://schemas.microsoft.com/office/drawing/2014/main" id="{3C20A10D-010D-3FA9-DDCD-4F49AA363B6F}"/>
              </a:ext>
            </a:extLst>
          </p:cNvPr>
          <p:cNvPicPr>
            <a:picLocks noChangeAspect="1"/>
          </p:cNvPicPr>
          <p:nvPr/>
        </p:nvPicPr>
        <p:blipFill rotWithShape="1">
          <a:blip r:embed="rId3"/>
          <a:srcRect r="4787" b="37473"/>
          <a:stretch/>
        </p:blipFill>
        <p:spPr>
          <a:xfrm>
            <a:off x="2366890" y="2757488"/>
            <a:ext cx="3500511" cy="3461302"/>
          </a:xfrm>
          <a:prstGeom prst="rect">
            <a:avLst/>
          </a:prstGeom>
        </p:spPr>
      </p:pic>
    </p:spTree>
    <p:extLst>
      <p:ext uri="{BB962C8B-B14F-4D97-AF65-F5344CB8AC3E}">
        <p14:creationId xmlns:p14="http://schemas.microsoft.com/office/powerpoint/2010/main" val="29819172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919D4-5A65-47F8-B22D-0938642B2CF5}"/>
              </a:ext>
            </a:extLst>
          </p:cNvPr>
          <p:cNvSpPr>
            <a:spLocks noGrp="1"/>
          </p:cNvSpPr>
          <p:nvPr>
            <p:ph type="ctrTitle"/>
          </p:nvPr>
        </p:nvSpPr>
        <p:spPr>
          <a:xfrm>
            <a:off x="1036320" y="1122363"/>
            <a:ext cx="10119360" cy="2387600"/>
          </a:xfrm>
        </p:spPr>
        <p:txBody>
          <a:bodyPr/>
          <a:lstStyle/>
          <a:p>
            <a:r>
              <a:rPr lang="en-US" dirty="0">
                <a:latin typeface="+mn-lt"/>
              </a:rPr>
              <a:t>Artificial intelligence </a:t>
            </a:r>
            <a:br>
              <a:rPr lang="en-US" dirty="0">
                <a:latin typeface="+mn-lt"/>
              </a:rPr>
            </a:br>
            <a:r>
              <a:rPr lang="en-US" dirty="0">
                <a:latin typeface="+mn-lt"/>
              </a:rPr>
              <a:t>and legal ethics</a:t>
            </a:r>
            <a:endParaRPr lang="en-AU" dirty="0">
              <a:latin typeface="+mn-lt"/>
            </a:endParaRPr>
          </a:p>
        </p:txBody>
      </p:sp>
      <p:sp>
        <p:nvSpPr>
          <p:cNvPr id="3" name="Subtitle 2">
            <a:extLst>
              <a:ext uri="{FF2B5EF4-FFF2-40B4-BE49-F238E27FC236}">
                <a16:creationId xmlns:a16="http://schemas.microsoft.com/office/drawing/2014/main" id="{3D3226DF-9DF7-4FB0-B25B-5BD2895F7ED7}"/>
              </a:ext>
            </a:extLst>
          </p:cNvPr>
          <p:cNvSpPr>
            <a:spLocks noGrp="1"/>
          </p:cNvSpPr>
          <p:nvPr>
            <p:ph type="subTitle" idx="1"/>
          </p:nvPr>
        </p:nvSpPr>
        <p:spPr>
          <a:xfrm>
            <a:off x="1524000" y="3602037"/>
            <a:ext cx="9144000" cy="2628433"/>
          </a:xfrm>
        </p:spPr>
        <p:txBody>
          <a:bodyPr>
            <a:normAutofit/>
          </a:bodyPr>
          <a:lstStyle/>
          <a:p>
            <a:r>
              <a:rPr lang="en-US" sz="4000" dirty="0"/>
              <a:t>Laurence F. White</a:t>
            </a:r>
          </a:p>
          <a:p>
            <a:r>
              <a:rPr lang="en-US" sz="3000" dirty="0"/>
              <a:t>Barrister</a:t>
            </a:r>
            <a:endParaRPr lang="en-US" dirty="0"/>
          </a:p>
          <a:p>
            <a:br>
              <a:rPr lang="en-US" dirty="0"/>
            </a:br>
            <a:r>
              <a:rPr lang="en-US" dirty="0"/>
              <a:t>25 July 2024</a:t>
            </a:r>
          </a:p>
          <a:p>
            <a:r>
              <a:rPr lang="en-AU" sz="1800" dirty="0">
                <a:effectLst/>
                <a:latin typeface="Arial" panose="020B0604020202020204" pitchFamily="34" charset="0"/>
                <a:ea typeface="Calibri" panose="020F0502020204030204" pitchFamily="34" charset="0"/>
              </a:rPr>
              <a:t>CPD presented to Lander and Rogers</a:t>
            </a:r>
            <a:endParaRPr lang="en-AU" dirty="0"/>
          </a:p>
        </p:txBody>
      </p:sp>
      <p:pic>
        <p:nvPicPr>
          <p:cNvPr id="4" name="Picture 3" descr="A picture containing object&#10;&#10;Description generated with very high confidence">
            <a:extLst>
              <a:ext uri="{FF2B5EF4-FFF2-40B4-BE49-F238E27FC236}">
                <a16:creationId xmlns:a16="http://schemas.microsoft.com/office/drawing/2014/main" id="{FAF4DACB-35BA-4F5B-B7E9-08E03C2AED1E}"/>
              </a:ext>
            </a:extLst>
          </p:cNvPr>
          <p:cNvPicPr>
            <a:picLocks noChangeAspect="1"/>
          </p:cNvPicPr>
          <p:nvPr/>
        </p:nvPicPr>
        <p:blipFill>
          <a:blip r:embed="rId2"/>
          <a:stretch>
            <a:fillRect/>
          </a:stretch>
        </p:blipFill>
        <p:spPr>
          <a:xfrm>
            <a:off x="10148835" y="288285"/>
            <a:ext cx="1889636" cy="413095"/>
          </a:xfrm>
          <a:prstGeom prst="rect">
            <a:avLst/>
          </a:prstGeom>
          <a:solidFill>
            <a:schemeClr val="bg1"/>
          </a:solidFill>
        </p:spPr>
      </p:pic>
      <p:sp>
        <p:nvSpPr>
          <p:cNvPr id="6" name="TextBox 5">
            <a:extLst>
              <a:ext uri="{FF2B5EF4-FFF2-40B4-BE49-F238E27FC236}">
                <a16:creationId xmlns:a16="http://schemas.microsoft.com/office/drawing/2014/main" id="{33102E5B-EABE-44A6-B447-3EC38D0A892D}"/>
              </a:ext>
            </a:extLst>
          </p:cNvPr>
          <p:cNvSpPr txBox="1"/>
          <p:nvPr/>
        </p:nvSpPr>
        <p:spPr>
          <a:xfrm>
            <a:off x="162127" y="6211669"/>
            <a:ext cx="6097218" cy="646331"/>
          </a:xfrm>
          <a:prstGeom prst="rect">
            <a:avLst/>
          </a:prstGeom>
          <a:noFill/>
        </p:spPr>
        <p:txBody>
          <a:bodyPr wrap="square">
            <a:spAutoFit/>
          </a:bodyPr>
          <a:lstStyle/>
          <a:p>
            <a:r>
              <a:rPr lang="en-US" sz="1800" dirty="0">
                <a:hlinkClick r:id="rId3"/>
              </a:rPr>
              <a:t>Laurence.White@vicbar.com.au</a:t>
            </a:r>
            <a:r>
              <a:rPr lang="en-US" sz="3600" dirty="0"/>
              <a:t> </a:t>
            </a:r>
            <a:endParaRPr lang="en-AU" dirty="0"/>
          </a:p>
        </p:txBody>
      </p:sp>
      <p:sp>
        <p:nvSpPr>
          <p:cNvPr id="5" name="TextBox 4">
            <a:extLst>
              <a:ext uri="{FF2B5EF4-FFF2-40B4-BE49-F238E27FC236}">
                <a16:creationId xmlns:a16="http://schemas.microsoft.com/office/drawing/2014/main" id="{C02E5179-3E4B-38A7-FF0F-C925904DB66B}"/>
              </a:ext>
            </a:extLst>
          </p:cNvPr>
          <p:cNvSpPr txBox="1"/>
          <p:nvPr/>
        </p:nvSpPr>
        <p:spPr>
          <a:xfrm>
            <a:off x="10372954" y="6431215"/>
            <a:ext cx="1715021" cy="276999"/>
          </a:xfrm>
          <a:prstGeom prst="rect">
            <a:avLst/>
          </a:prstGeom>
          <a:noFill/>
        </p:spPr>
        <p:txBody>
          <a:bodyPr wrap="none" rtlCol="0">
            <a:spAutoFit/>
          </a:bodyPr>
          <a:lstStyle/>
          <a:p>
            <a:r>
              <a:rPr lang="en-US" sz="1200" dirty="0">
                <a:solidFill>
                  <a:schemeClr val="accent2"/>
                </a:solidFill>
              </a:rPr>
              <a:t>© 2022 Laurence White </a:t>
            </a:r>
            <a:endParaRPr lang="en-AU" sz="1200" dirty="0">
              <a:solidFill>
                <a:schemeClr val="accent2"/>
              </a:solidFill>
            </a:endParaRPr>
          </a:p>
        </p:txBody>
      </p:sp>
    </p:spTree>
    <p:extLst>
      <p:ext uri="{BB962C8B-B14F-4D97-AF65-F5344CB8AC3E}">
        <p14:creationId xmlns:p14="http://schemas.microsoft.com/office/powerpoint/2010/main" val="27843398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3003E47-B3C6-BE7B-777C-30148CABA0D9}"/>
            </a:ext>
          </a:extLst>
        </p:cNvPr>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FB5993E2-C02B-4335-ABA5-D8EC46555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C0B801A2-5622-4BE8-9AD2-C337A2CD0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 name="Title 1">
            <a:extLst>
              <a:ext uri="{FF2B5EF4-FFF2-40B4-BE49-F238E27FC236}">
                <a16:creationId xmlns:a16="http://schemas.microsoft.com/office/drawing/2014/main" id="{B1D969DA-A657-CDB5-44C1-D55CDD4EA188}"/>
              </a:ext>
            </a:extLst>
          </p:cNvPr>
          <p:cNvSpPr>
            <a:spLocks noGrp="1"/>
          </p:cNvSpPr>
          <p:nvPr>
            <p:ph type="title"/>
          </p:nvPr>
        </p:nvSpPr>
        <p:spPr>
          <a:xfrm>
            <a:off x="1893278" y="516835"/>
            <a:ext cx="2313633" cy="5772840"/>
          </a:xfrm>
        </p:spPr>
        <p:txBody>
          <a:bodyPr anchor="ctr">
            <a:normAutofit/>
          </a:bodyPr>
          <a:lstStyle/>
          <a:p>
            <a:r>
              <a:rPr lang="en-GB" sz="3100" i="1">
                <a:solidFill>
                  <a:srgbClr val="FFFFFF"/>
                </a:solidFill>
              </a:rPr>
              <a:t>Copyright basics</a:t>
            </a:r>
            <a:endParaRPr lang="en-AU" sz="3100">
              <a:solidFill>
                <a:srgbClr val="FFFFFF"/>
              </a:solidFill>
            </a:endParaRPr>
          </a:p>
        </p:txBody>
      </p:sp>
      <p:sp>
        <p:nvSpPr>
          <p:cNvPr id="17" name="Rectangle 16">
            <a:extLst>
              <a:ext uri="{FF2B5EF4-FFF2-40B4-BE49-F238E27FC236}">
                <a16:creationId xmlns:a16="http://schemas.microsoft.com/office/drawing/2014/main" id="{B7AF614F-5BC3-4086-99F5-B87C5847A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54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graphicFrame>
        <p:nvGraphicFramePr>
          <p:cNvPr id="18" name="Content Placeholder 2">
            <a:extLst>
              <a:ext uri="{FF2B5EF4-FFF2-40B4-BE49-F238E27FC236}">
                <a16:creationId xmlns:a16="http://schemas.microsoft.com/office/drawing/2014/main" id="{312FB598-6570-22D0-70EC-2DAE80CC81A3}"/>
              </a:ext>
            </a:extLst>
          </p:cNvPr>
          <p:cNvGraphicFramePr>
            <a:graphicFrameLocks noGrp="1"/>
          </p:cNvGraphicFramePr>
          <p:nvPr>
            <p:ph idx="1"/>
          </p:nvPr>
        </p:nvGraphicFramePr>
        <p:xfrm>
          <a:off x="5080397" y="639763"/>
          <a:ext cx="5098256"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548410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D298A31-EC83-2365-EEDC-3AC7C9A8E149}"/>
            </a:ext>
          </a:extLst>
        </p:cNvPr>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FB5993E2-C02B-4335-ABA5-D8EC46555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9" name="Rectangle 28">
            <a:extLst>
              <a:ext uri="{FF2B5EF4-FFF2-40B4-BE49-F238E27FC236}">
                <a16:creationId xmlns:a16="http://schemas.microsoft.com/office/drawing/2014/main" id="{C0B801A2-5622-4BE8-9AD2-C337A2CD0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 name="Title 1">
            <a:extLst>
              <a:ext uri="{FF2B5EF4-FFF2-40B4-BE49-F238E27FC236}">
                <a16:creationId xmlns:a16="http://schemas.microsoft.com/office/drawing/2014/main" id="{231BA0CC-CC57-2E98-CC9F-1446C1FB2BA7}"/>
              </a:ext>
            </a:extLst>
          </p:cNvPr>
          <p:cNvSpPr>
            <a:spLocks noGrp="1"/>
          </p:cNvSpPr>
          <p:nvPr>
            <p:ph type="title"/>
          </p:nvPr>
        </p:nvSpPr>
        <p:spPr>
          <a:xfrm>
            <a:off x="1893278" y="516835"/>
            <a:ext cx="2313633" cy="5772840"/>
          </a:xfrm>
        </p:spPr>
        <p:txBody>
          <a:bodyPr anchor="ctr">
            <a:normAutofit/>
          </a:bodyPr>
          <a:lstStyle/>
          <a:p>
            <a:r>
              <a:rPr lang="en-GB" sz="3100" i="1">
                <a:solidFill>
                  <a:srgbClr val="FFFFFF"/>
                </a:solidFill>
              </a:rPr>
              <a:t>Types of works</a:t>
            </a:r>
            <a:endParaRPr lang="en-AU" sz="3100">
              <a:solidFill>
                <a:srgbClr val="FFFFFF"/>
              </a:solidFill>
            </a:endParaRPr>
          </a:p>
        </p:txBody>
      </p:sp>
      <p:sp>
        <p:nvSpPr>
          <p:cNvPr id="30" name="Rectangle 29">
            <a:extLst>
              <a:ext uri="{FF2B5EF4-FFF2-40B4-BE49-F238E27FC236}">
                <a16:creationId xmlns:a16="http://schemas.microsoft.com/office/drawing/2014/main" id="{B7AF614F-5BC3-4086-99F5-B87C5847A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54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graphicFrame>
        <p:nvGraphicFramePr>
          <p:cNvPr id="7" name="Content Placeholder 2">
            <a:extLst>
              <a:ext uri="{FF2B5EF4-FFF2-40B4-BE49-F238E27FC236}">
                <a16:creationId xmlns:a16="http://schemas.microsoft.com/office/drawing/2014/main" id="{7BF58B47-AEAF-0490-5D9B-E2187AA5E4A4}"/>
              </a:ext>
            </a:extLst>
          </p:cNvPr>
          <p:cNvGraphicFramePr>
            <a:graphicFrameLocks noGrp="1"/>
          </p:cNvGraphicFramePr>
          <p:nvPr>
            <p:ph idx="1"/>
            <p:extLst>
              <p:ext uri="{D42A27DB-BD31-4B8C-83A1-F6EECF244321}">
                <p14:modId xmlns:p14="http://schemas.microsoft.com/office/powerpoint/2010/main" val="822235429"/>
              </p:ext>
            </p:extLst>
          </p:nvPr>
        </p:nvGraphicFramePr>
        <p:xfrm>
          <a:off x="5080396" y="639762"/>
          <a:ext cx="5583339" cy="61450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13888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32D3FD4-6F71-43DF-93B9-87279519C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012" y="0"/>
            <a:ext cx="566090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 name="Title 1">
            <a:extLst>
              <a:ext uri="{FF2B5EF4-FFF2-40B4-BE49-F238E27FC236}">
                <a16:creationId xmlns:a16="http://schemas.microsoft.com/office/drawing/2014/main" id="{5B2A8C64-FA99-0C40-3D2A-142D546AF127}"/>
              </a:ext>
            </a:extLst>
          </p:cNvPr>
          <p:cNvSpPr>
            <a:spLocks noGrp="1"/>
          </p:cNvSpPr>
          <p:nvPr>
            <p:ph type="title"/>
          </p:nvPr>
        </p:nvSpPr>
        <p:spPr>
          <a:xfrm>
            <a:off x="2346960" y="516836"/>
            <a:ext cx="4483452" cy="1666501"/>
          </a:xfrm>
        </p:spPr>
        <p:txBody>
          <a:bodyPr>
            <a:normAutofit/>
          </a:bodyPr>
          <a:lstStyle/>
          <a:p>
            <a:r>
              <a:rPr lang="en-US" sz="3500" i="1">
                <a:solidFill>
                  <a:srgbClr val="FFFFFF"/>
                </a:solidFill>
              </a:rPr>
              <a:t>Multiple copyrights </a:t>
            </a:r>
            <a:endParaRPr lang="en-AU" sz="3500" i="1">
              <a:solidFill>
                <a:srgbClr val="FFFFFF"/>
              </a:solidFill>
            </a:endParaRPr>
          </a:p>
        </p:txBody>
      </p:sp>
      <p:sp>
        <p:nvSpPr>
          <p:cNvPr id="3" name="Content Placeholder 2">
            <a:extLst>
              <a:ext uri="{FF2B5EF4-FFF2-40B4-BE49-F238E27FC236}">
                <a16:creationId xmlns:a16="http://schemas.microsoft.com/office/drawing/2014/main" id="{7AB4DC05-F041-C257-5581-6331BCBCA9E8}"/>
              </a:ext>
            </a:extLst>
          </p:cNvPr>
          <p:cNvSpPr>
            <a:spLocks noGrp="1"/>
          </p:cNvSpPr>
          <p:nvPr>
            <p:ph idx="1"/>
          </p:nvPr>
        </p:nvSpPr>
        <p:spPr>
          <a:xfrm>
            <a:off x="2346960" y="2236305"/>
            <a:ext cx="4483453" cy="3652667"/>
          </a:xfrm>
        </p:spPr>
        <p:txBody>
          <a:bodyPr>
            <a:normAutofit/>
          </a:bodyPr>
          <a:lstStyle/>
          <a:p>
            <a:endParaRPr lang="en-US" sz="1600" dirty="0">
              <a:solidFill>
                <a:srgbClr val="FFFFFF"/>
              </a:solidFill>
            </a:endParaRPr>
          </a:p>
          <a:p>
            <a:pPr marL="0" indent="0">
              <a:buNone/>
            </a:pPr>
            <a:r>
              <a:rPr lang="en-US" sz="1800" dirty="0">
                <a:solidFill>
                  <a:srgbClr val="FFFFFF"/>
                </a:solidFill>
              </a:rPr>
              <a:t>A physical item (which includes a computer file) can contain several different and separate copyrights</a:t>
            </a:r>
          </a:p>
          <a:p>
            <a:pPr marL="0" indent="0">
              <a:buNone/>
            </a:pPr>
            <a:endParaRPr lang="en-US" sz="1800" dirty="0">
              <a:solidFill>
                <a:srgbClr val="FFFFFF"/>
              </a:solidFill>
            </a:endParaRPr>
          </a:p>
          <a:p>
            <a:pPr marL="0" indent="0">
              <a:buNone/>
            </a:pPr>
            <a:r>
              <a:rPr lang="en-US" sz="1800" dirty="0">
                <a:solidFill>
                  <a:srgbClr val="FFFFFF"/>
                </a:solidFill>
              </a:rPr>
              <a:t>A playlist of 10 song tracks will have 10 sound recordings, 10 musical works, and 10 sets of song lyrics, each of which will be protected by its own copyright, i.e. 31 individual copyrights, as the playlist itself will have its own copyright as a compilation</a:t>
            </a:r>
          </a:p>
          <a:p>
            <a:pPr marL="0" indent="0">
              <a:buNone/>
            </a:pPr>
            <a:endParaRPr lang="en-US" sz="1600" dirty="0">
              <a:solidFill>
                <a:srgbClr val="FFFFFF"/>
              </a:solidFill>
            </a:endParaRPr>
          </a:p>
        </p:txBody>
      </p:sp>
      <p:sp>
        <p:nvSpPr>
          <p:cNvPr id="17" name="Rectangle 16">
            <a:extLst>
              <a:ext uri="{FF2B5EF4-FFF2-40B4-BE49-F238E27FC236}">
                <a16:creationId xmlns:a16="http://schemas.microsoft.com/office/drawing/2014/main" id="{36F207B4-66C3-4A76-8D54-C2871CF809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184920"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pic>
        <p:nvPicPr>
          <p:cNvPr id="18" name="Picture 17" descr="Music sheet">
            <a:extLst>
              <a:ext uri="{FF2B5EF4-FFF2-40B4-BE49-F238E27FC236}">
                <a16:creationId xmlns:a16="http://schemas.microsoft.com/office/drawing/2014/main" id="{FFEAFEF7-C566-B909-B279-15479487A42D}"/>
              </a:ext>
            </a:extLst>
          </p:cNvPr>
          <p:cNvPicPr>
            <a:picLocks noChangeAspect="1"/>
          </p:cNvPicPr>
          <p:nvPr/>
        </p:nvPicPr>
        <p:blipFill>
          <a:blip r:embed="rId2"/>
          <a:srcRect r="66565" b="-1"/>
          <a:stretch/>
        </p:blipFill>
        <p:spPr>
          <a:xfrm>
            <a:off x="7232927" y="10"/>
            <a:ext cx="3435073" cy="6857990"/>
          </a:xfrm>
          <a:prstGeom prst="rect">
            <a:avLst/>
          </a:prstGeom>
        </p:spPr>
      </p:pic>
      <p:sp>
        <p:nvSpPr>
          <p:cNvPr id="4" name="Slide Number Placeholder 3">
            <a:extLst>
              <a:ext uri="{FF2B5EF4-FFF2-40B4-BE49-F238E27FC236}">
                <a16:creationId xmlns:a16="http://schemas.microsoft.com/office/drawing/2014/main" id="{2AECCA2C-B87B-792F-AE17-5ED5928E905F}"/>
              </a:ext>
            </a:extLst>
          </p:cNvPr>
          <p:cNvSpPr>
            <a:spLocks noGrp="1"/>
          </p:cNvSpPr>
          <p:nvPr>
            <p:ph type="sldNum" sz="quarter" idx="12"/>
          </p:nvPr>
        </p:nvSpPr>
        <p:spPr>
          <a:xfrm flipH="1" flipV="1">
            <a:off x="9933363" y="6824911"/>
            <a:ext cx="45719" cy="45719"/>
          </a:xfrm>
        </p:spPr>
        <p:txBody>
          <a:bodyPr>
            <a:normAutofit fontScale="25000" lnSpcReduction="20000"/>
          </a:bodyPr>
          <a:lstStyle/>
          <a:p>
            <a:pPr defTabSz="457200"/>
            <a:endParaRPr lang="en-AU" dirty="0">
              <a:latin typeface="Calibri" panose="020F0502020204030204"/>
            </a:endParaRPr>
          </a:p>
        </p:txBody>
      </p:sp>
    </p:spTree>
    <p:extLst>
      <p:ext uri="{BB962C8B-B14F-4D97-AF65-F5344CB8AC3E}">
        <p14:creationId xmlns:p14="http://schemas.microsoft.com/office/powerpoint/2010/main" val="38593319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05F38-0B12-DF9D-5E0C-7BD88FD8E3BA}"/>
              </a:ext>
            </a:extLst>
          </p:cNvPr>
          <p:cNvSpPr>
            <a:spLocks noGrp="1"/>
          </p:cNvSpPr>
          <p:nvPr>
            <p:ph type="title"/>
          </p:nvPr>
        </p:nvSpPr>
        <p:spPr/>
        <p:txBody>
          <a:bodyPr/>
          <a:lstStyle/>
          <a:p>
            <a:r>
              <a:rPr lang="en-US" i="1" dirty="0"/>
              <a:t>Copyright ownership</a:t>
            </a:r>
          </a:p>
        </p:txBody>
      </p:sp>
      <p:graphicFrame>
        <p:nvGraphicFramePr>
          <p:cNvPr id="9" name="Content Placeholder 2">
            <a:extLst>
              <a:ext uri="{FF2B5EF4-FFF2-40B4-BE49-F238E27FC236}">
                <a16:creationId xmlns:a16="http://schemas.microsoft.com/office/drawing/2014/main" id="{27FEEE22-9194-3622-A2C5-059B4B0A5A2E}"/>
              </a:ext>
            </a:extLst>
          </p:cNvPr>
          <p:cNvGraphicFramePr>
            <a:graphicFrameLocks noGrp="1"/>
          </p:cNvGraphicFramePr>
          <p:nvPr>
            <p:ph idx="1"/>
          </p:nvPr>
        </p:nvGraphicFramePr>
        <p:xfrm>
          <a:off x="2346960" y="1845734"/>
          <a:ext cx="7543801" cy="4023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003034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89E1C-D98A-E69C-5ACE-E132BCD2DCF5}"/>
              </a:ext>
            </a:extLst>
          </p:cNvPr>
          <p:cNvSpPr>
            <a:spLocks noGrp="1"/>
          </p:cNvSpPr>
          <p:nvPr>
            <p:ph type="title"/>
          </p:nvPr>
        </p:nvSpPr>
        <p:spPr>
          <a:xfrm>
            <a:off x="2346960" y="286604"/>
            <a:ext cx="7543800" cy="1450757"/>
          </a:xfrm>
        </p:spPr>
        <p:txBody>
          <a:bodyPr>
            <a:normAutofit/>
          </a:bodyPr>
          <a:lstStyle/>
          <a:p>
            <a:br>
              <a:rPr lang="en-US" sz="4400" i="1"/>
            </a:br>
            <a:r>
              <a:rPr lang="en-US" sz="4400" i="1"/>
              <a:t>Identify your works and authors</a:t>
            </a:r>
            <a:endParaRPr lang="en-AU" sz="4400" i="1"/>
          </a:p>
        </p:txBody>
      </p:sp>
      <p:graphicFrame>
        <p:nvGraphicFramePr>
          <p:cNvPr id="5" name="Content Placeholder 2">
            <a:extLst>
              <a:ext uri="{FF2B5EF4-FFF2-40B4-BE49-F238E27FC236}">
                <a16:creationId xmlns:a16="http://schemas.microsoft.com/office/drawing/2014/main" id="{BCC2206D-9593-2BC9-3658-68BEE821A2F7}"/>
              </a:ext>
            </a:extLst>
          </p:cNvPr>
          <p:cNvGraphicFramePr>
            <a:graphicFrameLocks noGrp="1"/>
          </p:cNvGraphicFramePr>
          <p:nvPr>
            <p:ph idx="1"/>
          </p:nvPr>
        </p:nvGraphicFramePr>
        <p:xfrm>
          <a:off x="2346722" y="2098515"/>
          <a:ext cx="7543800" cy="3786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517691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69D91F4-8835-97B7-8D7C-73E4B5B8B9C3}"/>
            </a:ext>
          </a:extLst>
        </p:cNvPr>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 name="Title 1">
            <a:extLst>
              <a:ext uri="{FF2B5EF4-FFF2-40B4-BE49-F238E27FC236}">
                <a16:creationId xmlns:a16="http://schemas.microsoft.com/office/drawing/2014/main" id="{CA13F894-0550-E370-C98D-258E395D9CC1}"/>
              </a:ext>
            </a:extLst>
          </p:cNvPr>
          <p:cNvSpPr>
            <a:spLocks noGrp="1"/>
          </p:cNvSpPr>
          <p:nvPr>
            <p:ph type="title"/>
          </p:nvPr>
        </p:nvSpPr>
        <p:spPr>
          <a:xfrm>
            <a:off x="1893278" y="605896"/>
            <a:ext cx="2313633" cy="5646208"/>
          </a:xfrm>
        </p:spPr>
        <p:txBody>
          <a:bodyPr anchor="ctr">
            <a:normAutofit/>
          </a:bodyPr>
          <a:lstStyle/>
          <a:p>
            <a:r>
              <a:rPr lang="en-US" sz="3100" i="1">
                <a:solidFill>
                  <a:srgbClr val="FFFFFF"/>
                </a:solidFill>
              </a:rPr>
              <a:t>Copyright owner’s rights – s31</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54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0357E611-649C-7611-1919-68DB86C4A6A7}"/>
              </a:ext>
            </a:extLst>
          </p:cNvPr>
          <p:cNvSpPr>
            <a:spLocks noGrp="1"/>
          </p:cNvSpPr>
          <p:nvPr>
            <p:ph idx="1"/>
          </p:nvPr>
        </p:nvSpPr>
        <p:spPr>
          <a:xfrm>
            <a:off x="5080513" y="605896"/>
            <a:ext cx="4810247" cy="5646208"/>
          </a:xfrm>
        </p:spPr>
        <p:txBody>
          <a:bodyPr anchor="ctr">
            <a:normAutofit/>
          </a:bodyPr>
          <a:lstStyle/>
          <a:p>
            <a:pPr marL="0" indent="0">
              <a:buNone/>
            </a:pPr>
            <a:r>
              <a:rPr lang="en-US"/>
              <a:t>Copyright, in relation to a work, is the exclusive right in the case of a </a:t>
            </a:r>
            <a:r>
              <a:rPr lang="en-US" u="sng"/>
              <a:t>literary, dramatic or musical work </a:t>
            </a:r>
            <a:r>
              <a:rPr lang="en-US"/>
              <a:t>:</a:t>
            </a:r>
          </a:p>
          <a:p>
            <a:pPr>
              <a:buFont typeface="Arial" panose="020B0604020202020204" pitchFamily="34" charset="0"/>
              <a:buChar char="•"/>
            </a:pPr>
            <a:r>
              <a:rPr lang="en-US" b="1"/>
              <a:t> to reproduce the work in a material form;</a:t>
            </a:r>
          </a:p>
          <a:p>
            <a:pPr>
              <a:buFont typeface="Arial" panose="020B0604020202020204" pitchFamily="34" charset="0"/>
              <a:buChar char="•"/>
            </a:pPr>
            <a:r>
              <a:rPr lang="en-US" b="1"/>
              <a:t> to publish the work;</a:t>
            </a:r>
          </a:p>
          <a:p>
            <a:pPr>
              <a:buFont typeface="Arial" panose="020B0604020202020204" pitchFamily="34" charset="0"/>
              <a:buChar char="•"/>
            </a:pPr>
            <a:r>
              <a:rPr lang="en-US"/>
              <a:t> to perform the work in public;</a:t>
            </a:r>
          </a:p>
          <a:p>
            <a:pPr>
              <a:buFont typeface="Arial" panose="020B0604020202020204" pitchFamily="34" charset="0"/>
              <a:buChar char="•"/>
            </a:pPr>
            <a:r>
              <a:rPr lang="en-US" b="1"/>
              <a:t> to communicate the work to the public;</a:t>
            </a:r>
          </a:p>
          <a:p>
            <a:pPr>
              <a:buFont typeface="Arial" panose="020B0604020202020204" pitchFamily="34" charset="0"/>
              <a:buChar char="•"/>
            </a:pPr>
            <a:r>
              <a:rPr lang="en-US"/>
              <a:t> to make an adaptation of the work;</a:t>
            </a:r>
          </a:p>
          <a:p>
            <a:pPr>
              <a:buFont typeface="Arial" panose="020B0604020202020204" pitchFamily="34" charset="0"/>
              <a:buChar char="•"/>
            </a:pPr>
            <a:r>
              <a:rPr lang="en-US"/>
              <a:t> to do the above in relation to an adaptation of a work</a:t>
            </a:r>
          </a:p>
          <a:p>
            <a:pPr marL="0" indent="0">
              <a:buNone/>
            </a:pPr>
            <a:r>
              <a:rPr lang="en-US"/>
              <a:t> (</a:t>
            </a:r>
            <a:r>
              <a:rPr lang="en-US" b="1"/>
              <a:t>and for artistic works to do the acts in bold</a:t>
            </a:r>
            <a:r>
              <a:rPr lang="en-US"/>
              <a:t>) </a:t>
            </a:r>
          </a:p>
          <a:p>
            <a:endParaRPr lang="en-US" dirty="0"/>
          </a:p>
        </p:txBody>
      </p:sp>
    </p:spTree>
    <p:extLst>
      <p:ext uri="{BB962C8B-B14F-4D97-AF65-F5344CB8AC3E}">
        <p14:creationId xmlns:p14="http://schemas.microsoft.com/office/powerpoint/2010/main" val="39314370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B5993E2-C02B-4335-ABA5-D8EC46555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C0B801A2-5622-4BE8-9AD2-C337A2CD0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 name="Title 1">
            <a:extLst>
              <a:ext uri="{FF2B5EF4-FFF2-40B4-BE49-F238E27FC236}">
                <a16:creationId xmlns:a16="http://schemas.microsoft.com/office/drawing/2014/main" id="{B4932144-B534-0A18-9915-9C7A1E1657D2}"/>
              </a:ext>
            </a:extLst>
          </p:cNvPr>
          <p:cNvSpPr>
            <a:spLocks noGrp="1"/>
          </p:cNvSpPr>
          <p:nvPr>
            <p:ph type="title"/>
          </p:nvPr>
        </p:nvSpPr>
        <p:spPr>
          <a:xfrm>
            <a:off x="1893278" y="516835"/>
            <a:ext cx="2313633" cy="5772840"/>
          </a:xfrm>
        </p:spPr>
        <p:txBody>
          <a:bodyPr anchor="ctr">
            <a:normAutofit/>
          </a:bodyPr>
          <a:lstStyle/>
          <a:p>
            <a:r>
              <a:rPr lang="en-US" sz="3100" i="1">
                <a:solidFill>
                  <a:srgbClr val="FFFFFF"/>
                </a:solidFill>
              </a:rPr>
              <a:t>Infringement  - s36</a:t>
            </a:r>
          </a:p>
        </p:txBody>
      </p:sp>
      <p:sp>
        <p:nvSpPr>
          <p:cNvPr id="17" name="Rectangle 16">
            <a:extLst>
              <a:ext uri="{FF2B5EF4-FFF2-40B4-BE49-F238E27FC236}">
                <a16:creationId xmlns:a16="http://schemas.microsoft.com/office/drawing/2014/main" id="{B7AF614F-5BC3-4086-99F5-B87C5847A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54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95A0F9D1-F2DE-E2E2-0151-E0E18A637EF3}"/>
              </a:ext>
            </a:extLst>
          </p:cNvPr>
          <p:cNvSpPr>
            <a:spLocks noGrp="1"/>
          </p:cNvSpPr>
          <p:nvPr>
            <p:ph type="sldNum" sz="quarter" idx="12"/>
          </p:nvPr>
        </p:nvSpPr>
        <p:spPr>
          <a:xfrm flipH="1">
            <a:off x="9933363" y="6739128"/>
            <a:ext cx="48006" cy="85783"/>
          </a:xfrm>
        </p:spPr>
        <p:txBody>
          <a:bodyPr>
            <a:normAutofit fontScale="25000" lnSpcReduction="20000"/>
          </a:bodyPr>
          <a:lstStyle/>
          <a:p>
            <a:pPr defTabSz="457200">
              <a:spcAft>
                <a:spcPts val="600"/>
              </a:spcAft>
            </a:pPr>
            <a:endParaRPr lang="en-AU" dirty="0">
              <a:solidFill>
                <a:srgbClr val="373545"/>
              </a:solidFill>
              <a:latin typeface="Calibri" panose="020F0502020204030204"/>
            </a:endParaRPr>
          </a:p>
        </p:txBody>
      </p:sp>
      <p:graphicFrame>
        <p:nvGraphicFramePr>
          <p:cNvPr id="8" name="Content Placeholder 2">
            <a:extLst>
              <a:ext uri="{FF2B5EF4-FFF2-40B4-BE49-F238E27FC236}">
                <a16:creationId xmlns:a16="http://schemas.microsoft.com/office/drawing/2014/main" id="{028775C1-0B1C-5339-34FE-522B04EFA02E}"/>
              </a:ext>
            </a:extLst>
          </p:cNvPr>
          <p:cNvGraphicFramePr>
            <a:graphicFrameLocks noGrp="1"/>
          </p:cNvGraphicFramePr>
          <p:nvPr>
            <p:ph idx="1"/>
          </p:nvPr>
        </p:nvGraphicFramePr>
        <p:xfrm>
          <a:off x="5080397" y="639763"/>
          <a:ext cx="5098256"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4596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35230A27-1553-42F8-99D7-829868E137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4" name="Rectangle 23">
            <a:extLst>
              <a:ext uri="{FF2B5EF4-FFF2-40B4-BE49-F238E27FC236}">
                <a16:creationId xmlns:a16="http://schemas.microsoft.com/office/drawing/2014/main" id="{A772232D-B4D6-429F-B3D1-2D9891B85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1765173" y="320040"/>
            <a:ext cx="8661654" cy="6217920"/>
          </a:xfrm>
          <a:prstGeom prst="rect">
            <a:avLst/>
          </a:prstGeom>
          <a:solidFill>
            <a:schemeClr val="bg2"/>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0C242E7A-99DF-9A1F-A758-9FD994816F4C}"/>
              </a:ext>
            </a:extLst>
          </p:cNvPr>
          <p:cNvSpPr>
            <a:spLocks noGrp="1"/>
          </p:cNvSpPr>
          <p:nvPr>
            <p:ph type="title"/>
          </p:nvPr>
        </p:nvSpPr>
        <p:spPr>
          <a:xfrm>
            <a:off x="2247772" y="963998"/>
            <a:ext cx="2441018" cy="4938361"/>
          </a:xfrm>
        </p:spPr>
        <p:txBody>
          <a:bodyPr anchor="ctr">
            <a:normAutofit/>
          </a:bodyPr>
          <a:lstStyle/>
          <a:p>
            <a:pPr algn="r"/>
            <a:r>
              <a:rPr lang="en-US" sz="3200" i="1" dirty="0" err="1"/>
              <a:t>Authorisation</a:t>
            </a:r>
            <a:r>
              <a:rPr lang="en-US" sz="3200" i="1" dirty="0"/>
              <a:t> – section 36(1A) </a:t>
            </a:r>
          </a:p>
        </p:txBody>
      </p:sp>
      <p:cxnSp>
        <p:nvCxnSpPr>
          <p:cNvPr id="25" name="Straight Connector 24">
            <a:extLst>
              <a:ext uri="{FF2B5EF4-FFF2-40B4-BE49-F238E27FC236}">
                <a16:creationId xmlns:a16="http://schemas.microsoft.com/office/drawing/2014/main" id="{02CC3441-26B3-4381-B3DF-8AE3C288BC0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11688" y="2057399"/>
            <a:ext cx="0" cy="27432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9" name="Content Placeholder 2">
            <a:extLst>
              <a:ext uri="{FF2B5EF4-FFF2-40B4-BE49-F238E27FC236}">
                <a16:creationId xmlns:a16="http://schemas.microsoft.com/office/drawing/2014/main" id="{1DCAF8CD-9FCA-68E8-7B90-C7CAE7696E25}"/>
              </a:ext>
            </a:extLst>
          </p:cNvPr>
          <p:cNvGraphicFramePr>
            <a:graphicFrameLocks noGrp="1"/>
          </p:cNvGraphicFramePr>
          <p:nvPr>
            <p:ph idx="1"/>
          </p:nvPr>
        </p:nvGraphicFramePr>
        <p:xfrm>
          <a:off x="5375162" y="963508"/>
          <a:ext cx="4601323" cy="4938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49700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87733-B4F7-6766-5451-89BFC1DF6E07}"/>
              </a:ext>
            </a:extLst>
          </p:cNvPr>
          <p:cNvSpPr>
            <a:spLocks noGrp="1"/>
          </p:cNvSpPr>
          <p:nvPr>
            <p:ph type="title"/>
          </p:nvPr>
        </p:nvSpPr>
        <p:spPr>
          <a:xfrm>
            <a:off x="2346960" y="286604"/>
            <a:ext cx="7543800" cy="1450757"/>
          </a:xfrm>
        </p:spPr>
        <p:txBody>
          <a:bodyPr>
            <a:normAutofit/>
          </a:bodyPr>
          <a:lstStyle/>
          <a:p>
            <a:r>
              <a:rPr lang="en-US" i="1" dirty="0"/>
              <a:t>Duration of copyright</a:t>
            </a:r>
          </a:p>
        </p:txBody>
      </p:sp>
      <p:graphicFrame>
        <p:nvGraphicFramePr>
          <p:cNvPr id="6" name="Content Placeholder 2">
            <a:extLst>
              <a:ext uri="{FF2B5EF4-FFF2-40B4-BE49-F238E27FC236}">
                <a16:creationId xmlns:a16="http://schemas.microsoft.com/office/drawing/2014/main" id="{FB549D87-9C07-5082-66F3-6FAF4A4AF350}"/>
              </a:ext>
            </a:extLst>
          </p:cNvPr>
          <p:cNvGraphicFramePr>
            <a:graphicFrameLocks noGrp="1"/>
          </p:cNvGraphicFramePr>
          <p:nvPr>
            <p:ph idx="1"/>
          </p:nvPr>
        </p:nvGraphicFramePr>
        <p:xfrm>
          <a:off x="2346722" y="2098515"/>
          <a:ext cx="7543800" cy="3786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88153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311973C2-EB8B-452A-A698-4A252FD3AE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2"/>
            <a:ext cx="9144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useBgFill="1">
        <p:nvSpPr>
          <p:cNvPr id="21" name="Rectangle 20">
            <a:extLst>
              <a:ext uri="{FF2B5EF4-FFF2-40B4-BE49-F238E27FC236}">
                <a16:creationId xmlns:a16="http://schemas.microsoft.com/office/drawing/2014/main" id="{10162E77-11AD-44A7-84EC-40C59EEFBD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7C1F7A69-06CD-B9B6-B409-B8036496307B}"/>
              </a:ext>
            </a:extLst>
          </p:cNvPr>
          <p:cNvSpPr>
            <a:spLocks noGrp="1"/>
          </p:cNvSpPr>
          <p:nvPr>
            <p:ph type="title"/>
          </p:nvPr>
        </p:nvSpPr>
        <p:spPr>
          <a:xfrm>
            <a:off x="5410201" y="634947"/>
            <a:ext cx="4776107" cy="1450757"/>
          </a:xfrm>
        </p:spPr>
        <p:txBody>
          <a:bodyPr>
            <a:normAutofit/>
          </a:bodyPr>
          <a:lstStyle/>
          <a:p>
            <a:r>
              <a:rPr lang="en-US" i="1"/>
              <a:t>AI systems</a:t>
            </a:r>
            <a:endParaRPr lang="en-US" i="1" dirty="0"/>
          </a:p>
        </p:txBody>
      </p:sp>
      <p:pic>
        <p:nvPicPr>
          <p:cNvPr id="22" name="Picture 21" descr="Angle view of circuit shaped like a brain">
            <a:extLst>
              <a:ext uri="{FF2B5EF4-FFF2-40B4-BE49-F238E27FC236}">
                <a16:creationId xmlns:a16="http://schemas.microsoft.com/office/drawing/2014/main" id="{0356352A-4AFF-45C1-6241-E0EC24E6BEE1}"/>
              </a:ext>
            </a:extLst>
          </p:cNvPr>
          <p:cNvPicPr>
            <a:picLocks noChangeAspect="1"/>
          </p:cNvPicPr>
          <p:nvPr/>
        </p:nvPicPr>
        <p:blipFill>
          <a:blip r:embed="rId2"/>
          <a:srcRect l="32353" r="32207"/>
          <a:stretch/>
        </p:blipFill>
        <p:spPr>
          <a:xfrm>
            <a:off x="1524020" y="-12128"/>
            <a:ext cx="3490702" cy="6870127"/>
          </a:xfrm>
          <a:prstGeom prst="rect">
            <a:avLst/>
          </a:prstGeom>
        </p:spPr>
      </p:pic>
      <p:cxnSp>
        <p:nvCxnSpPr>
          <p:cNvPr id="23" name="Straight Connector 22">
            <a:extLst>
              <a:ext uri="{FF2B5EF4-FFF2-40B4-BE49-F238E27FC236}">
                <a16:creationId xmlns:a16="http://schemas.microsoft.com/office/drawing/2014/main" id="{5AB158E9-1B40-4CD6-95F0-95CA11DF7B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89713" y="2085703"/>
            <a:ext cx="4628015"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082CC77-C216-E5D0-116C-6F8E72F1D387}"/>
              </a:ext>
            </a:extLst>
          </p:cNvPr>
          <p:cNvSpPr>
            <a:spLocks noGrp="1"/>
          </p:cNvSpPr>
          <p:nvPr>
            <p:ph idx="1"/>
          </p:nvPr>
        </p:nvSpPr>
        <p:spPr>
          <a:xfrm>
            <a:off x="5410201" y="2198914"/>
            <a:ext cx="4776107" cy="3670180"/>
          </a:xfrm>
        </p:spPr>
        <p:txBody>
          <a:bodyPr>
            <a:normAutofit/>
          </a:bodyPr>
          <a:lstStyle/>
          <a:p>
            <a:endParaRPr lang="en-US"/>
          </a:p>
          <a:p>
            <a:pPr>
              <a:buFont typeface="Wingdings" panose="05000000000000000000" pitchFamily="2" charset="2"/>
              <a:buChar char="§"/>
            </a:pPr>
            <a:r>
              <a:rPr lang="en-US"/>
              <a:t> AI systems have been trained using data in the form of copyright works and other copyright subject matter from a wide range of sources</a:t>
            </a:r>
          </a:p>
          <a:p>
            <a:pPr>
              <a:buFont typeface="Wingdings" panose="05000000000000000000" pitchFamily="2" charset="2"/>
              <a:buChar char="§"/>
            </a:pPr>
            <a:endParaRPr lang="en-US"/>
          </a:p>
          <a:p>
            <a:pPr>
              <a:buFont typeface="Wingdings" panose="05000000000000000000" pitchFamily="2" charset="2"/>
              <a:buChar char="§"/>
            </a:pPr>
            <a:r>
              <a:rPr lang="en-US"/>
              <a:t> AND largely without regard to the copyright status of the training materials </a:t>
            </a:r>
          </a:p>
          <a:p>
            <a:endParaRPr lang="en-US"/>
          </a:p>
          <a:p>
            <a:endParaRPr lang="en-US" dirty="0"/>
          </a:p>
        </p:txBody>
      </p:sp>
      <p:sp>
        <p:nvSpPr>
          <p:cNvPr id="4" name="Slide Number Placeholder 3">
            <a:extLst>
              <a:ext uri="{FF2B5EF4-FFF2-40B4-BE49-F238E27FC236}">
                <a16:creationId xmlns:a16="http://schemas.microsoft.com/office/drawing/2014/main" id="{333DD68B-E90F-FD55-C4B3-B40F973985BE}"/>
              </a:ext>
            </a:extLst>
          </p:cNvPr>
          <p:cNvSpPr>
            <a:spLocks noGrp="1"/>
          </p:cNvSpPr>
          <p:nvPr>
            <p:ph type="sldNum" sz="quarter" idx="12"/>
          </p:nvPr>
        </p:nvSpPr>
        <p:spPr>
          <a:xfrm flipH="1" flipV="1">
            <a:off x="9933363" y="6824911"/>
            <a:ext cx="45719" cy="45719"/>
          </a:xfrm>
        </p:spPr>
        <p:txBody>
          <a:bodyPr>
            <a:normAutofit fontScale="25000" lnSpcReduction="20000"/>
          </a:bodyPr>
          <a:lstStyle/>
          <a:p>
            <a:pPr defTabSz="457200"/>
            <a:endParaRPr lang="en-AU" dirty="0">
              <a:solidFill>
                <a:prstClr val="black">
                  <a:lumMod val="75000"/>
                  <a:lumOff val="25000"/>
                </a:prstClr>
              </a:solidFill>
              <a:latin typeface="Calibri" panose="020F0502020204030204"/>
            </a:endParaRPr>
          </a:p>
        </p:txBody>
      </p:sp>
    </p:spTree>
    <p:extLst>
      <p:ext uri="{BB962C8B-B14F-4D97-AF65-F5344CB8AC3E}">
        <p14:creationId xmlns:p14="http://schemas.microsoft.com/office/powerpoint/2010/main" val="277529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8F21C-5495-4149-9405-272146DB894E}"/>
              </a:ext>
            </a:extLst>
          </p:cNvPr>
          <p:cNvSpPr>
            <a:spLocks noGrp="1"/>
          </p:cNvSpPr>
          <p:nvPr>
            <p:ph type="title"/>
          </p:nvPr>
        </p:nvSpPr>
        <p:spPr/>
        <p:txBody>
          <a:bodyPr/>
          <a:lstStyle/>
          <a:p>
            <a:r>
              <a:rPr lang="en-US" dirty="0"/>
              <a:t>Outline</a:t>
            </a:r>
            <a:endParaRPr lang="en-AU" dirty="0"/>
          </a:p>
        </p:txBody>
      </p:sp>
      <p:sp>
        <p:nvSpPr>
          <p:cNvPr id="3" name="Content Placeholder 2">
            <a:extLst>
              <a:ext uri="{FF2B5EF4-FFF2-40B4-BE49-F238E27FC236}">
                <a16:creationId xmlns:a16="http://schemas.microsoft.com/office/drawing/2014/main" id="{D81584D0-AE34-4252-8218-34E78D65337C}"/>
              </a:ext>
            </a:extLst>
          </p:cNvPr>
          <p:cNvSpPr>
            <a:spLocks noGrp="1"/>
          </p:cNvSpPr>
          <p:nvPr>
            <p:ph idx="1"/>
          </p:nvPr>
        </p:nvSpPr>
        <p:spPr/>
        <p:txBody>
          <a:bodyPr>
            <a:normAutofit fontScale="92500" lnSpcReduction="20000"/>
          </a:bodyPr>
          <a:lstStyle/>
          <a:p>
            <a:pPr marL="342900" lvl="0" indent="-342900">
              <a:buSzPts val="1000"/>
              <a:buFont typeface="Symbol" panose="05050102010706020507" pitchFamily="18" charset="2"/>
              <a:buChar char=""/>
              <a:tabLst>
                <a:tab pos="457200" algn="l"/>
              </a:tabLst>
            </a:pPr>
            <a:r>
              <a:rPr lang="en-AU" dirty="0">
                <a:solidFill>
                  <a:srgbClr val="000000"/>
                </a:solidFill>
                <a:latin typeface="Calibri" panose="020F0502020204030204" pitchFamily="34" charset="0"/>
                <a:ea typeface="Times New Roman" panose="02020603050405020304" pitchFamily="18" charset="0"/>
              </a:rPr>
              <a:t>Introduction to advanced AI tools</a:t>
            </a:r>
          </a:p>
          <a:p>
            <a:pPr marL="342900" indent="-342900">
              <a:buSzPts val="1000"/>
              <a:buFont typeface="Symbol" panose="05050102010706020507" pitchFamily="18" charset="2"/>
              <a:buChar char=""/>
              <a:tabLst>
                <a:tab pos="457200" algn="l"/>
              </a:tabLst>
            </a:pPr>
            <a:r>
              <a:rPr lang="en-AU" dirty="0">
                <a:solidFill>
                  <a:srgbClr val="000000"/>
                </a:solidFill>
                <a:latin typeface="Calibri" panose="020F0502020204030204" pitchFamily="34" charset="0"/>
                <a:ea typeface="Times New Roman" panose="02020603050405020304" pitchFamily="18" charset="0"/>
              </a:rPr>
              <a:t>Possible use cases for advanced AI tools in legal practice</a:t>
            </a:r>
          </a:p>
          <a:p>
            <a:pPr marL="342900" lvl="0"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What’s under the hood?</a:t>
            </a:r>
          </a:p>
          <a:p>
            <a:pPr marL="800100" lvl="1"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Technologies</a:t>
            </a:r>
          </a:p>
          <a:p>
            <a:pPr marL="800100" lvl="1"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Terms and conditions / privacy policies</a:t>
            </a:r>
          </a:p>
          <a:p>
            <a:pPr marL="342900" lvl="0"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Challenges</a:t>
            </a:r>
          </a:p>
          <a:p>
            <a:pPr marL="800100" lvl="1"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Accuracy, completeness, bias</a:t>
            </a:r>
          </a:p>
          <a:p>
            <a:pPr marL="342900" indent="-342900">
              <a:buSzPts val="1000"/>
              <a:buFont typeface="Symbol" panose="05050102010706020507" pitchFamily="18" charset="2"/>
              <a:buChar char=""/>
              <a:tabLst>
                <a:tab pos="457200" algn="l"/>
              </a:tabLst>
            </a:pPr>
            <a:r>
              <a:rPr lang="en-AU" dirty="0">
                <a:solidFill>
                  <a:srgbClr val="000000"/>
                </a:solidFill>
                <a:latin typeface="Calibri" panose="020F0502020204030204" pitchFamily="34" charset="0"/>
                <a:ea typeface="Times New Roman" panose="02020603050405020304" pitchFamily="18" charset="0"/>
              </a:rPr>
              <a:t>Most relevant ethical rules</a:t>
            </a:r>
          </a:p>
          <a:p>
            <a:pPr marL="342900"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Guidance from Courts and professional associations</a:t>
            </a:r>
          </a:p>
          <a:p>
            <a:pPr marL="342900" lvl="0"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Tentative conclusions</a:t>
            </a:r>
            <a:endParaRPr lang="en-AU" dirty="0">
              <a:solidFill>
                <a:srgbClr val="000000"/>
              </a:solidFill>
              <a:latin typeface="Calibri" panose="020F0502020204030204" pitchFamily="34" charset="0"/>
              <a:ea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AU" dirty="0">
                <a:solidFill>
                  <a:srgbClr val="000000"/>
                </a:solidFill>
                <a:effectLst/>
                <a:latin typeface="Calibri" panose="020F0502020204030204" pitchFamily="34" charset="0"/>
                <a:ea typeface="Times New Roman" panose="02020603050405020304" pitchFamily="18" charset="0"/>
              </a:rPr>
              <a:t>Case study outline</a:t>
            </a:r>
          </a:p>
        </p:txBody>
      </p:sp>
      <p:sp>
        <p:nvSpPr>
          <p:cNvPr id="4" name="Slide Number Placeholder 3">
            <a:extLst>
              <a:ext uri="{FF2B5EF4-FFF2-40B4-BE49-F238E27FC236}">
                <a16:creationId xmlns:a16="http://schemas.microsoft.com/office/drawing/2014/main" id="{2AD3015D-FB37-4C40-A426-2B0B46E37023}"/>
              </a:ext>
            </a:extLst>
          </p:cNvPr>
          <p:cNvSpPr>
            <a:spLocks noGrp="1"/>
          </p:cNvSpPr>
          <p:nvPr>
            <p:ph type="sldNum" sz="quarter" idx="12"/>
          </p:nvPr>
        </p:nvSpPr>
        <p:spPr/>
        <p:txBody>
          <a:bodyPr/>
          <a:lstStyle/>
          <a:p>
            <a:fld id="{03F39873-4EE6-4357-A001-6C17E9D52876}" type="slidenum">
              <a:rPr lang="en-AU" smtClean="0"/>
              <a:pPr/>
              <a:t>3</a:t>
            </a:fld>
            <a:endParaRPr lang="en-AU" dirty="0"/>
          </a:p>
        </p:txBody>
      </p:sp>
    </p:spTree>
    <p:extLst>
      <p:ext uri="{BB962C8B-B14F-4D97-AF65-F5344CB8AC3E}">
        <p14:creationId xmlns:p14="http://schemas.microsoft.com/office/powerpoint/2010/main" val="15338896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741B58E-3B65-4A01-A276-975AB2CF8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11" name="Rectangle 10">
            <a:extLst>
              <a:ext uri="{FF2B5EF4-FFF2-40B4-BE49-F238E27FC236}">
                <a16:creationId xmlns:a16="http://schemas.microsoft.com/office/drawing/2014/main" id="{7AAC67C3-831B-4AB1-A259-DFB839CAFA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 name="Title 1">
            <a:extLst>
              <a:ext uri="{FF2B5EF4-FFF2-40B4-BE49-F238E27FC236}">
                <a16:creationId xmlns:a16="http://schemas.microsoft.com/office/drawing/2014/main" id="{4694537D-C486-21E1-725A-939DC406C302}"/>
              </a:ext>
            </a:extLst>
          </p:cNvPr>
          <p:cNvSpPr>
            <a:spLocks noGrp="1"/>
          </p:cNvSpPr>
          <p:nvPr>
            <p:ph type="title"/>
          </p:nvPr>
        </p:nvSpPr>
        <p:spPr>
          <a:xfrm>
            <a:off x="1893278" y="605896"/>
            <a:ext cx="2313633" cy="5646208"/>
          </a:xfrm>
        </p:spPr>
        <p:txBody>
          <a:bodyPr anchor="ctr">
            <a:normAutofit/>
          </a:bodyPr>
          <a:lstStyle/>
          <a:p>
            <a:r>
              <a:rPr lang="en-US" sz="3100" i="1">
                <a:solidFill>
                  <a:srgbClr val="FFFFFF"/>
                </a:solidFill>
              </a:rPr>
              <a:t>USA litigation examples</a:t>
            </a:r>
          </a:p>
        </p:txBody>
      </p:sp>
      <p:sp>
        <p:nvSpPr>
          <p:cNvPr id="13" name="Rectangle 12">
            <a:extLst>
              <a:ext uri="{FF2B5EF4-FFF2-40B4-BE49-F238E27FC236}">
                <a16:creationId xmlns:a16="http://schemas.microsoft.com/office/drawing/2014/main" id="{054B3F04-9EAC-45C0-B3CE-0387EEA10A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54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9844BDA3-8D00-B0AA-2C62-F527568F0A19}"/>
              </a:ext>
            </a:extLst>
          </p:cNvPr>
          <p:cNvSpPr>
            <a:spLocks noGrp="1"/>
          </p:cNvSpPr>
          <p:nvPr>
            <p:ph idx="1"/>
          </p:nvPr>
        </p:nvSpPr>
        <p:spPr>
          <a:xfrm>
            <a:off x="5080513" y="605896"/>
            <a:ext cx="4810247" cy="5646208"/>
          </a:xfrm>
        </p:spPr>
        <p:txBody>
          <a:bodyPr anchor="ctr">
            <a:normAutofit/>
          </a:bodyPr>
          <a:lstStyle/>
          <a:p>
            <a:endParaRPr lang="en-US" b="1" i="1" dirty="0"/>
          </a:p>
          <a:p>
            <a:pPr>
              <a:buFont typeface="Courier New" panose="02070309020205020404" pitchFamily="49" charset="0"/>
              <a:buChar char="o"/>
            </a:pPr>
            <a:r>
              <a:rPr lang="en-US" b="1" i="1" dirty="0"/>
              <a:t> Getty Images v Stability AI </a:t>
            </a:r>
            <a:r>
              <a:rPr lang="en-US" dirty="0"/>
              <a:t>- 12 million Getty Images photographs are alleged to have been infringed, along with their captions and metadata </a:t>
            </a:r>
          </a:p>
          <a:p>
            <a:pPr>
              <a:buFont typeface="Courier New" panose="02070309020205020404" pitchFamily="49" charset="0"/>
              <a:buChar char="o"/>
            </a:pPr>
            <a:endParaRPr lang="en-US" b="1" i="1" dirty="0"/>
          </a:p>
          <a:p>
            <a:pPr>
              <a:buFont typeface="Courier New" panose="02070309020205020404" pitchFamily="49" charset="0"/>
              <a:buChar char="o"/>
            </a:pPr>
            <a:r>
              <a:rPr lang="en-US" b="1" i="1" dirty="0"/>
              <a:t>New York Times v OpenAI and Microsoft </a:t>
            </a:r>
            <a:r>
              <a:rPr lang="en-US" dirty="0"/>
              <a:t>– use without permission of the paper’s copyrighted news articles, in-depth investigations, opinion pieces, reviews, how-to guides, and more</a:t>
            </a:r>
          </a:p>
          <a:p>
            <a:pPr>
              <a:buFont typeface="Courier New" panose="02070309020205020404" pitchFamily="49" charset="0"/>
              <a:buChar char="o"/>
            </a:pPr>
            <a:endParaRPr lang="en-US" b="1" i="1" dirty="0"/>
          </a:p>
          <a:p>
            <a:pPr>
              <a:buFont typeface="Courier New" panose="02070309020205020404" pitchFamily="49" charset="0"/>
              <a:buChar char="o"/>
            </a:pPr>
            <a:r>
              <a:rPr lang="en-US" b="1" i="1" dirty="0"/>
              <a:t> Universal and others v Uncharted Labs </a:t>
            </a:r>
            <a:r>
              <a:rPr lang="en-US" dirty="0"/>
              <a:t>– the owner of the music AI generators </a:t>
            </a:r>
            <a:r>
              <a:rPr lang="en-US" dirty="0" err="1"/>
              <a:t>Suno</a:t>
            </a:r>
            <a:r>
              <a:rPr lang="en-US" dirty="0"/>
              <a:t> and </a:t>
            </a:r>
            <a:r>
              <a:rPr lang="en-US" dirty="0" err="1"/>
              <a:t>Udio</a:t>
            </a:r>
            <a:r>
              <a:rPr lang="en-US" dirty="0"/>
              <a:t> are being sued by the various studios</a:t>
            </a:r>
          </a:p>
          <a:p>
            <a:pPr marL="0" indent="0">
              <a:buNone/>
            </a:pPr>
            <a:endParaRPr lang="en-US" dirty="0"/>
          </a:p>
        </p:txBody>
      </p:sp>
      <p:sp>
        <p:nvSpPr>
          <p:cNvPr id="4" name="Slide Number Placeholder 3">
            <a:extLst>
              <a:ext uri="{FF2B5EF4-FFF2-40B4-BE49-F238E27FC236}">
                <a16:creationId xmlns:a16="http://schemas.microsoft.com/office/drawing/2014/main" id="{6EEC860B-06B9-2AA3-298D-9C8FD64B354A}"/>
              </a:ext>
            </a:extLst>
          </p:cNvPr>
          <p:cNvSpPr>
            <a:spLocks noGrp="1"/>
          </p:cNvSpPr>
          <p:nvPr>
            <p:ph type="sldNum" sz="quarter" idx="12"/>
          </p:nvPr>
        </p:nvSpPr>
        <p:spPr>
          <a:xfrm flipH="1">
            <a:off x="9933362" y="6753226"/>
            <a:ext cx="77032" cy="71685"/>
          </a:xfrm>
        </p:spPr>
        <p:txBody>
          <a:bodyPr>
            <a:normAutofit fontScale="25000" lnSpcReduction="20000"/>
          </a:bodyPr>
          <a:lstStyle/>
          <a:p>
            <a:pPr defTabSz="457200">
              <a:spcAft>
                <a:spcPts val="600"/>
              </a:spcAft>
            </a:pPr>
            <a:endParaRPr lang="en-AU" dirty="0">
              <a:solidFill>
                <a:srgbClr val="373545"/>
              </a:solidFill>
              <a:latin typeface="Calibri" panose="020F0502020204030204"/>
            </a:endParaRPr>
          </a:p>
        </p:txBody>
      </p:sp>
    </p:spTree>
    <p:extLst>
      <p:ext uri="{BB962C8B-B14F-4D97-AF65-F5344CB8AC3E}">
        <p14:creationId xmlns:p14="http://schemas.microsoft.com/office/powerpoint/2010/main" val="14098411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CECF0FC6-D57B-48B6-9036-F4FFD91A4B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649EE536-8526-5F06-0399-7C657508FBD0}"/>
              </a:ext>
            </a:extLst>
          </p:cNvPr>
          <p:cNvSpPr>
            <a:spLocks noGrp="1"/>
          </p:cNvSpPr>
          <p:nvPr>
            <p:ph type="title"/>
          </p:nvPr>
        </p:nvSpPr>
        <p:spPr>
          <a:xfrm>
            <a:off x="2267199" y="286604"/>
            <a:ext cx="5063240" cy="1450757"/>
          </a:xfrm>
        </p:spPr>
        <p:txBody>
          <a:bodyPr>
            <a:normAutofit/>
          </a:bodyPr>
          <a:lstStyle/>
          <a:p>
            <a:r>
              <a:rPr lang="en-US" i="1">
                <a:solidFill>
                  <a:schemeClr val="accent2"/>
                </a:solidFill>
              </a:rPr>
              <a:t>Possible defences</a:t>
            </a:r>
          </a:p>
        </p:txBody>
      </p:sp>
      <p:sp>
        <p:nvSpPr>
          <p:cNvPr id="3" name="Content Placeholder 2">
            <a:extLst>
              <a:ext uri="{FF2B5EF4-FFF2-40B4-BE49-F238E27FC236}">
                <a16:creationId xmlns:a16="http://schemas.microsoft.com/office/drawing/2014/main" id="{F991A2DD-BBC7-CBDD-3687-D24522E7F891}"/>
              </a:ext>
            </a:extLst>
          </p:cNvPr>
          <p:cNvSpPr>
            <a:spLocks noGrp="1"/>
          </p:cNvSpPr>
          <p:nvPr>
            <p:ph idx="1"/>
          </p:nvPr>
        </p:nvSpPr>
        <p:spPr>
          <a:xfrm>
            <a:off x="2307153" y="2023963"/>
            <a:ext cx="5023286" cy="3845131"/>
          </a:xfrm>
        </p:spPr>
        <p:txBody>
          <a:bodyPr>
            <a:normAutofit/>
          </a:bodyPr>
          <a:lstStyle/>
          <a:p>
            <a:pPr>
              <a:buFont typeface="Wingdings" panose="05000000000000000000" pitchFamily="2" charset="2"/>
              <a:buChar char="v"/>
            </a:pPr>
            <a:r>
              <a:rPr lang="en-US"/>
              <a:t> In the USA the fair use defence permits a party to use a copyrighted work without the copyright owner's permission for purposes such as criticism, comment, news reporting, teaching, scholarship, or research.</a:t>
            </a:r>
          </a:p>
          <a:p>
            <a:pPr>
              <a:buFont typeface="Wingdings" panose="05000000000000000000" pitchFamily="2" charset="2"/>
              <a:buChar char="v"/>
            </a:pPr>
            <a:endParaRPr lang="en-US"/>
          </a:p>
          <a:p>
            <a:pPr>
              <a:buFont typeface="Wingdings" panose="05000000000000000000" pitchFamily="2" charset="2"/>
              <a:buChar char="v"/>
            </a:pPr>
            <a:r>
              <a:rPr lang="en-US"/>
              <a:t> Australia’s “fair dealing” defence is even narrower </a:t>
            </a:r>
          </a:p>
          <a:p>
            <a:endParaRPr lang="en-US"/>
          </a:p>
          <a:p>
            <a:endParaRPr lang="en-US"/>
          </a:p>
          <a:p>
            <a:endParaRPr lang="en-US"/>
          </a:p>
        </p:txBody>
      </p:sp>
      <p:sp>
        <p:nvSpPr>
          <p:cNvPr id="20" name="Rectangle 19">
            <a:extLst>
              <a:ext uri="{FF2B5EF4-FFF2-40B4-BE49-F238E27FC236}">
                <a16:creationId xmlns:a16="http://schemas.microsoft.com/office/drawing/2014/main" id="{717A211C-5863-4303-AC3D-AEBFDF6D6A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321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2" name="Rectangle 21">
            <a:extLst>
              <a:ext uri="{FF2B5EF4-FFF2-40B4-BE49-F238E27FC236}">
                <a16:creationId xmlns:a16="http://schemas.microsoft.com/office/drawing/2014/main" id="{087519CD-2FFF-42E3-BB0C-FEAA828BA5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23617"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F9D0BD5E-283A-D975-4337-DBB799375F06}"/>
              </a:ext>
            </a:extLst>
          </p:cNvPr>
          <p:cNvSpPr>
            <a:spLocks noGrp="1"/>
          </p:cNvSpPr>
          <p:nvPr>
            <p:ph type="sldNum" sz="quarter" idx="12"/>
          </p:nvPr>
        </p:nvSpPr>
        <p:spPr>
          <a:xfrm flipV="1">
            <a:off x="9885357" y="6824911"/>
            <a:ext cx="48006" cy="45719"/>
          </a:xfrm>
        </p:spPr>
        <p:txBody>
          <a:bodyPr>
            <a:normAutofit fontScale="25000" lnSpcReduction="20000"/>
          </a:bodyPr>
          <a:lstStyle/>
          <a:p>
            <a:pPr defTabSz="457200">
              <a:spcAft>
                <a:spcPts val="600"/>
              </a:spcAft>
            </a:pPr>
            <a:endParaRPr lang="en-AU" dirty="0">
              <a:latin typeface="Calibri" panose="020F0502020204030204"/>
            </a:endParaRPr>
          </a:p>
        </p:txBody>
      </p:sp>
    </p:spTree>
    <p:extLst>
      <p:ext uri="{BB962C8B-B14F-4D97-AF65-F5344CB8AC3E}">
        <p14:creationId xmlns:p14="http://schemas.microsoft.com/office/powerpoint/2010/main" val="26191437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F60F0-6EB7-24F4-B378-8C376D4FEAFC}"/>
              </a:ext>
            </a:extLst>
          </p:cNvPr>
          <p:cNvSpPr>
            <a:spLocks noGrp="1"/>
          </p:cNvSpPr>
          <p:nvPr>
            <p:ph type="title"/>
          </p:nvPr>
        </p:nvSpPr>
        <p:spPr>
          <a:xfrm>
            <a:off x="2346960" y="286604"/>
            <a:ext cx="7543800" cy="1450757"/>
          </a:xfrm>
        </p:spPr>
        <p:txBody>
          <a:bodyPr>
            <a:normAutofit/>
          </a:bodyPr>
          <a:lstStyle/>
          <a:p>
            <a:r>
              <a:rPr lang="en-US" i="1"/>
              <a:t>Practical problems</a:t>
            </a:r>
            <a:endParaRPr lang="en-US" i="1" dirty="0"/>
          </a:p>
        </p:txBody>
      </p:sp>
      <p:sp>
        <p:nvSpPr>
          <p:cNvPr id="4" name="Slide Number Placeholder 3">
            <a:extLst>
              <a:ext uri="{FF2B5EF4-FFF2-40B4-BE49-F238E27FC236}">
                <a16:creationId xmlns:a16="http://schemas.microsoft.com/office/drawing/2014/main" id="{D8D121A7-1D62-1BC1-BDF3-F427EA0A1F24}"/>
              </a:ext>
            </a:extLst>
          </p:cNvPr>
          <p:cNvSpPr>
            <a:spLocks noGrp="1"/>
          </p:cNvSpPr>
          <p:nvPr>
            <p:ph type="sldNum" sz="quarter" idx="12"/>
          </p:nvPr>
        </p:nvSpPr>
        <p:spPr>
          <a:xfrm>
            <a:off x="9887644" y="6775704"/>
            <a:ext cx="45719" cy="49207"/>
          </a:xfrm>
        </p:spPr>
        <p:txBody>
          <a:bodyPr>
            <a:normAutofit fontScale="25000" lnSpcReduction="20000"/>
          </a:bodyPr>
          <a:lstStyle/>
          <a:p>
            <a:pPr defTabSz="457200">
              <a:spcAft>
                <a:spcPts val="600"/>
              </a:spcAft>
            </a:pPr>
            <a:endParaRPr lang="en-AU" dirty="0">
              <a:latin typeface="Calibri" panose="020F0502020204030204"/>
            </a:endParaRPr>
          </a:p>
        </p:txBody>
      </p:sp>
      <p:graphicFrame>
        <p:nvGraphicFramePr>
          <p:cNvPr id="7" name="Content Placeholder 2">
            <a:extLst>
              <a:ext uri="{FF2B5EF4-FFF2-40B4-BE49-F238E27FC236}">
                <a16:creationId xmlns:a16="http://schemas.microsoft.com/office/drawing/2014/main" id="{D7CCF916-FB7F-950F-1A21-AF60F9073B2C}"/>
              </a:ext>
            </a:extLst>
          </p:cNvPr>
          <p:cNvGraphicFramePr>
            <a:graphicFrameLocks noGrp="1"/>
          </p:cNvGraphicFramePr>
          <p:nvPr>
            <p:ph idx="1"/>
          </p:nvPr>
        </p:nvGraphicFramePr>
        <p:xfrm>
          <a:off x="2346722" y="2098515"/>
          <a:ext cx="7543800" cy="3786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029034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8AF52-97BB-C170-232D-E69AD8F0865C}"/>
              </a:ext>
            </a:extLst>
          </p:cNvPr>
          <p:cNvSpPr>
            <a:spLocks noGrp="1"/>
          </p:cNvSpPr>
          <p:nvPr>
            <p:ph type="title"/>
          </p:nvPr>
        </p:nvSpPr>
        <p:spPr/>
        <p:txBody>
          <a:bodyPr/>
          <a:lstStyle/>
          <a:p>
            <a:r>
              <a:rPr lang="en-US" i="1" dirty="0"/>
              <a:t>Australia’s response so far</a:t>
            </a:r>
          </a:p>
        </p:txBody>
      </p:sp>
      <p:sp>
        <p:nvSpPr>
          <p:cNvPr id="3" name="Content Placeholder 2">
            <a:extLst>
              <a:ext uri="{FF2B5EF4-FFF2-40B4-BE49-F238E27FC236}">
                <a16:creationId xmlns:a16="http://schemas.microsoft.com/office/drawing/2014/main" id="{E7C1CCF8-E75A-9529-B73E-A7A64D97740B}"/>
              </a:ext>
            </a:extLst>
          </p:cNvPr>
          <p:cNvSpPr>
            <a:spLocks noGrp="1"/>
          </p:cNvSpPr>
          <p:nvPr>
            <p:ph idx="1"/>
          </p:nvPr>
        </p:nvSpPr>
        <p:spPr/>
        <p:txBody>
          <a:bodyPr>
            <a:normAutofit/>
          </a:bodyPr>
          <a:lstStyle/>
          <a:p>
            <a:endParaRPr lang="en-US" dirty="0"/>
          </a:p>
          <a:p>
            <a:pPr>
              <a:buFont typeface="Wingdings" panose="05000000000000000000" pitchFamily="2" charset="2"/>
              <a:buChar char="ü"/>
            </a:pPr>
            <a:r>
              <a:rPr lang="en-US" dirty="0"/>
              <a:t> In December 2023, Commonwealth Attorney-General Mark Dreyfus announced the establishment of a copyright and AI reference group “to better prepare for future copyright challenges emerging from AI”, expressly referring to the need to address copyright issues concerning “the material used to train AI models” and “transparency of inputs and outputs”.</a:t>
            </a:r>
          </a:p>
          <a:p>
            <a:pPr>
              <a:buFont typeface="Wingdings" panose="05000000000000000000" pitchFamily="2" charset="2"/>
              <a:buChar char="ü"/>
            </a:pPr>
            <a:endParaRPr lang="en-US" dirty="0"/>
          </a:p>
          <a:p>
            <a:pPr>
              <a:buFont typeface="Wingdings" panose="05000000000000000000" pitchFamily="2" charset="2"/>
              <a:buChar char="ü"/>
            </a:pPr>
            <a:r>
              <a:rPr lang="en-US" dirty="0"/>
              <a:t> It met for the first time in February 2024</a:t>
            </a:r>
          </a:p>
          <a:p>
            <a:pPr marL="0" indent="0">
              <a:buNone/>
            </a:pPr>
            <a:endParaRPr lang="en-US" dirty="0"/>
          </a:p>
          <a:p>
            <a:pPr>
              <a:buFont typeface="Wingdings" panose="05000000000000000000" pitchFamily="2" charset="2"/>
              <a:buChar char="ü"/>
            </a:pPr>
            <a:r>
              <a:rPr lang="en-US" dirty="0"/>
              <a:t> ?</a:t>
            </a:r>
          </a:p>
        </p:txBody>
      </p:sp>
      <p:sp>
        <p:nvSpPr>
          <p:cNvPr id="4" name="Slide Number Placeholder 3">
            <a:extLst>
              <a:ext uri="{FF2B5EF4-FFF2-40B4-BE49-F238E27FC236}">
                <a16:creationId xmlns:a16="http://schemas.microsoft.com/office/drawing/2014/main" id="{659F7C04-7D51-AAF8-624C-19A698E6241F}"/>
              </a:ext>
            </a:extLst>
          </p:cNvPr>
          <p:cNvSpPr>
            <a:spLocks noGrp="1"/>
          </p:cNvSpPr>
          <p:nvPr>
            <p:ph type="sldNum" sz="quarter" idx="12"/>
          </p:nvPr>
        </p:nvSpPr>
        <p:spPr>
          <a:xfrm>
            <a:off x="11155680" y="6779193"/>
            <a:ext cx="56805" cy="45719"/>
          </a:xfrm>
        </p:spPr>
        <p:txBody>
          <a:bodyPr/>
          <a:lstStyle/>
          <a:p>
            <a:pPr defTabSz="457200"/>
            <a:endParaRPr lang="en-AU" dirty="0">
              <a:latin typeface="Calibri" panose="020F0502020204030204"/>
            </a:endParaRPr>
          </a:p>
        </p:txBody>
      </p:sp>
    </p:spTree>
    <p:extLst>
      <p:ext uri="{BB962C8B-B14F-4D97-AF65-F5344CB8AC3E}">
        <p14:creationId xmlns:p14="http://schemas.microsoft.com/office/powerpoint/2010/main" val="25872610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FB5993E2-C02B-4335-ABA5-D8EC46555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39736"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30" name="Rectangle 29">
            <a:extLst>
              <a:ext uri="{FF2B5EF4-FFF2-40B4-BE49-F238E27FC236}">
                <a16:creationId xmlns:a16="http://schemas.microsoft.com/office/drawing/2014/main" id="{C0B801A2-5622-4BE8-9AD2-C337A2CD0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 name="Title 1">
            <a:extLst>
              <a:ext uri="{FF2B5EF4-FFF2-40B4-BE49-F238E27FC236}">
                <a16:creationId xmlns:a16="http://schemas.microsoft.com/office/drawing/2014/main" id="{00D54278-AB8C-CDE6-E76F-0A4EEC80CC9C}"/>
              </a:ext>
            </a:extLst>
          </p:cNvPr>
          <p:cNvSpPr>
            <a:spLocks noGrp="1"/>
          </p:cNvSpPr>
          <p:nvPr>
            <p:ph type="title"/>
          </p:nvPr>
        </p:nvSpPr>
        <p:spPr>
          <a:xfrm>
            <a:off x="1893278" y="516835"/>
            <a:ext cx="2313633" cy="5772840"/>
          </a:xfrm>
        </p:spPr>
        <p:txBody>
          <a:bodyPr anchor="ctr">
            <a:normAutofit/>
          </a:bodyPr>
          <a:lstStyle/>
          <a:p>
            <a:r>
              <a:rPr lang="en-US" sz="3100" i="1">
                <a:solidFill>
                  <a:srgbClr val="FFFFFF"/>
                </a:solidFill>
              </a:rPr>
              <a:t>If you need data to feed into your AI system</a:t>
            </a:r>
            <a:endParaRPr lang="en-AU" sz="3100" i="1">
              <a:solidFill>
                <a:srgbClr val="FFFFFF"/>
              </a:solidFill>
            </a:endParaRPr>
          </a:p>
        </p:txBody>
      </p:sp>
      <p:sp>
        <p:nvSpPr>
          <p:cNvPr id="31" name="Rectangle 30">
            <a:extLst>
              <a:ext uri="{FF2B5EF4-FFF2-40B4-BE49-F238E27FC236}">
                <a16:creationId xmlns:a16="http://schemas.microsoft.com/office/drawing/2014/main" id="{B7AF614F-5BC3-4086-99F5-B87C5847A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54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D2BE73E2-F164-FC80-8173-05C50BC974EB}"/>
              </a:ext>
            </a:extLst>
          </p:cNvPr>
          <p:cNvSpPr>
            <a:spLocks noGrp="1"/>
          </p:cNvSpPr>
          <p:nvPr>
            <p:ph type="sldNum" sz="quarter" idx="12"/>
          </p:nvPr>
        </p:nvSpPr>
        <p:spPr>
          <a:xfrm flipH="1">
            <a:off x="9933363" y="6753226"/>
            <a:ext cx="45719" cy="71685"/>
          </a:xfrm>
        </p:spPr>
        <p:txBody>
          <a:bodyPr>
            <a:normAutofit fontScale="25000" lnSpcReduction="20000"/>
          </a:bodyPr>
          <a:lstStyle/>
          <a:p>
            <a:pPr defTabSz="457200">
              <a:spcAft>
                <a:spcPts val="600"/>
              </a:spcAft>
            </a:pPr>
            <a:endParaRPr lang="en-AU" dirty="0">
              <a:solidFill>
                <a:srgbClr val="373545"/>
              </a:solidFill>
              <a:latin typeface="Calibri" panose="020F0502020204030204"/>
            </a:endParaRPr>
          </a:p>
        </p:txBody>
      </p:sp>
      <p:graphicFrame>
        <p:nvGraphicFramePr>
          <p:cNvPr id="32" name="Content Placeholder 2">
            <a:extLst>
              <a:ext uri="{FF2B5EF4-FFF2-40B4-BE49-F238E27FC236}">
                <a16:creationId xmlns:a16="http://schemas.microsoft.com/office/drawing/2014/main" id="{063265C0-5D5C-B28A-A411-37ADB829F158}"/>
              </a:ext>
            </a:extLst>
          </p:cNvPr>
          <p:cNvGraphicFramePr>
            <a:graphicFrameLocks noGrp="1"/>
          </p:cNvGraphicFramePr>
          <p:nvPr>
            <p:ph idx="1"/>
          </p:nvPr>
        </p:nvGraphicFramePr>
        <p:xfrm>
          <a:off x="5080397" y="639763"/>
          <a:ext cx="5098256"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40091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52ABB703-2B0E-4C3B-B4A2-F3973548E5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7F1675B3-F3BA-99D4-C003-B3A1590BBC80}"/>
              </a:ext>
            </a:extLst>
          </p:cNvPr>
          <p:cNvSpPr>
            <a:spLocks noGrp="1"/>
          </p:cNvSpPr>
          <p:nvPr>
            <p:ph type="title"/>
          </p:nvPr>
        </p:nvSpPr>
        <p:spPr>
          <a:xfrm>
            <a:off x="6332764" y="634947"/>
            <a:ext cx="3845379" cy="1450757"/>
          </a:xfrm>
        </p:spPr>
        <p:txBody>
          <a:bodyPr>
            <a:normAutofit/>
          </a:bodyPr>
          <a:lstStyle/>
          <a:p>
            <a:r>
              <a:rPr lang="en-US" sz="3700" i="1"/>
              <a:t>Materials produced by GenAI systems</a:t>
            </a:r>
          </a:p>
        </p:txBody>
      </p:sp>
      <p:pic>
        <p:nvPicPr>
          <p:cNvPr id="9" name="Picture 8">
            <a:extLst>
              <a:ext uri="{FF2B5EF4-FFF2-40B4-BE49-F238E27FC236}">
                <a16:creationId xmlns:a16="http://schemas.microsoft.com/office/drawing/2014/main" id="{33DD6149-3A3A-02FA-1CC8-C42FE429251D}"/>
              </a:ext>
            </a:extLst>
          </p:cNvPr>
          <p:cNvPicPr>
            <a:picLocks noChangeAspect="1"/>
          </p:cNvPicPr>
          <p:nvPr/>
        </p:nvPicPr>
        <p:blipFill>
          <a:blip r:embed="rId2"/>
          <a:stretch>
            <a:fillRect/>
          </a:stretch>
        </p:blipFill>
        <p:spPr>
          <a:xfrm>
            <a:off x="2155005" y="645107"/>
            <a:ext cx="3791498" cy="5247747"/>
          </a:xfrm>
          <a:prstGeom prst="rect">
            <a:avLst/>
          </a:prstGeom>
        </p:spPr>
      </p:pic>
      <p:cxnSp>
        <p:nvCxnSpPr>
          <p:cNvPr id="16" name="Straight Connector 15">
            <a:extLst>
              <a:ext uri="{FF2B5EF4-FFF2-40B4-BE49-F238E27FC236}">
                <a16:creationId xmlns:a16="http://schemas.microsoft.com/office/drawing/2014/main" id="{9C21570E-E159-49A6-9891-FA397B7A92D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332763" y="2086188"/>
            <a:ext cx="356160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934E37E6-B0D9-9BA6-3C07-83DB91D5372F}"/>
              </a:ext>
            </a:extLst>
          </p:cNvPr>
          <p:cNvSpPr>
            <a:spLocks noGrp="1"/>
          </p:cNvSpPr>
          <p:nvPr>
            <p:ph idx="1"/>
          </p:nvPr>
        </p:nvSpPr>
        <p:spPr>
          <a:xfrm>
            <a:off x="6332764" y="2198914"/>
            <a:ext cx="3845379" cy="3670180"/>
          </a:xfrm>
        </p:spPr>
        <p:txBody>
          <a:bodyPr>
            <a:normAutofit/>
          </a:bodyPr>
          <a:lstStyle/>
          <a:p>
            <a:pPr marL="0" indent="0">
              <a:buNone/>
            </a:pPr>
            <a:r>
              <a:rPr lang="en-US" dirty="0"/>
              <a:t> </a:t>
            </a:r>
          </a:p>
          <a:p>
            <a:pPr>
              <a:buFont typeface="Wingdings" panose="05000000000000000000" pitchFamily="2" charset="2"/>
              <a:buChar char="q"/>
            </a:pPr>
            <a:r>
              <a:rPr lang="en-US" dirty="0"/>
              <a:t> for copyright to exist the work must have originated from a human ‘author’ who has applied sufficient ‘independent intellectual effort’ to authoring the work.</a:t>
            </a:r>
          </a:p>
          <a:p>
            <a:pPr>
              <a:buFont typeface="Wingdings" panose="05000000000000000000" pitchFamily="2" charset="2"/>
              <a:buChar char="q"/>
            </a:pPr>
            <a:r>
              <a:rPr lang="en-US" dirty="0"/>
              <a:t> the Monkey selfie case (2014)</a:t>
            </a:r>
          </a:p>
          <a:p>
            <a:pPr>
              <a:buFont typeface="Wingdings" panose="05000000000000000000" pitchFamily="2" charset="2"/>
              <a:buChar char="q"/>
            </a:pPr>
            <a:r>
              <a:rPr lang="en-US" dirty="0"/>
              <a:t> AI tools do not currently have a legal status and cannot own copyright </a:t>
            </a:r>
          </a:p>
          <a:p>
            <a:pPr marL="0" indent="0">
              <a:buNone/>
            </a:pPr>
            <a:endParaRPr lang="en-US" dirty="0"/>
          </a:p>
          <a:p>
            <a:endParaRPr lang="en-US" dirty="0"/>
          </a:p>
        </p:txBody>
      </p:sp>
      <p:sp>
        <p:nvSpPr>
          <p:cNvPr id="18" name="Rectangle 17">
            <a:extLst>
              <a:ext uri="{FF2B5EF4-FFF2-40B4-BE49-F238E27FC236}">
                <a16:creationId xmlns:a16="http://schemas.microsoft.com/office/drawing/2014/main" id="{E95DA498-D9A2-4DA9-B9DA-B3776E08CF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2"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0" name="Rectangle 19">
            <a:extLst>
              <a:ext uri="{FF2B5EF4-FFF2-40B4-BE49-F238E27FC236}">
                <a16:creationId xmlns:a16="http://schemas.microsoft.com/office/drawing/2014/main" id="{82A73093-4B9D-420D-B17E-52293703A1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2A3043F9-519E-40D3-0556-69BECD2D40E2}"/>
              </a:ext>
            </a:extLst>
          </p:cNvPr>
          <p:cNvSpPr>
            <a:spLocks noGrp="1"/>
          </p:cNvSpPr>
          <p:nvPr>
            <p:ph type="sldNum" sz="quarter" idx="12"/>
          </p:nvPr>
        </p:nvSpPr>
        <p:spPr>
          <a:xfrm>
            <a:off x="9887644" y="6779192"/>
            <a:ext cx="45719" cy="45719"/>
          </a:xfrm>
        </p:spPr>
        <p:txBody>
          <a:bodyPr>
            <a:normAutofit fontScale="25000" lnSpcReduction="20000"/>
          </a:bodyPr>
          <a:lstStyle/>
          <a:p>
            <a:pPr defTabSz="457200">
              <a:spcAft>
                <a:spcPts val="600"/>
              </a:spcAft>
            </a:pPr>
            <a:endParaRPr lang="en-AU" dirty="0">
              <a:latin typeface="Calibri" panose="020F0502020204030204"/>
            </a:endParaRPr>
          </a:p>
        </p:txBody>
      </p:sp>
    </p:spTree>
    <p:extLst>
      <p:ext uri="{BB962C8B-B14F-4D97-AF65-F5344CB8AC3E}">
        <p14:creationId xmlns:p14="http://schemas.microsoft.com/office/powerpoint/2010/main" val="32172509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82244-4FD4-675E-4D4C-8D90AA8D14F0}"/>
              </a:ext>
            </a:extLst>
          </p:cNvPr>
          <p:cNvSpPr>
            <a:spLocks noGrp="1"/>
          </p:cNvSpPr>
          <p:nvPr>
            <p:ph type="title"/>
          </p:nvPr>
        </p:nvSpPr>
        <p:spPr/>
        <p:txBody>
          <a:bodyPr>
            <a:normAutofit/>
          </a:bodyPr>
          <a:lstStyle/>
          <a:p>
            <a:r>
              <a:rPr lang="en-US" i="1" dirty="0"/>
              <a:t>The USA and China</a:t>
            </a:r>
            <a:endParaRPr lang="en-AU" i="1" dirty="0"/>
          </a:p>
        </p:txBody>
      </p:sp>
      <p:graphicFrame>
        <p:nvGraphicFramePr>
          <p:cNvPr id="5" name="Content Placeholder 2">
            <a:extLst>
              <a:ext uri="{FF2B5EF4-FFF2-40B4-BE49-F238E27FC236}">
                <a16:creationId xmlns:a16="http://schemas.microsoft.com/office/drawing/2014/main" id="{F4B33325-4F4B-A0E7-2873-AE364F981C8B}"/>
              </a:ext>
            </a:extLst>
          </p:cNvPr>
          <p:cNvGraphicFramePr>
            <a:graphicFrameLocks noGrp="1"/>
          </p:cNvGraphicFramePr>
          <p:nvPr>
            <p:ph idx="1"/>
          </p:nvPr>
        </p:nvGraphicFramePr>
        <p:xfrm>
          <a:off x="2346960" y="2047875"/>
          <a:ext cx="7543801" cy="4286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931288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D511A-9999-7B81-67B7-DDC60F91E032}"/>
              </a:ext>
            </a:extLst>
          </p:cNvPr>
          <p:cNvSpPr>
            <a:spLocks noGrp="1"/>
          </p:cNvSpPr>
          <p:nvPr>
            <p:ph type="title"/>
          </p:nvPr>
        </p:nvSpPr>
        <p:spPr/>
        <p:txBody>
          <a:bodyPr/>
          <a:lstStyle/>
          <a:p>
            <a:r>
              <a:rPr lang="en-US"/>
              <a:t>The EU and the UK</a:t>
            </a:r>
            <a:endParaRPr lang="en-AU" dirty="0"/>
          </a:p>
        </p:txBody>
      </p:sp>
      <p:sp>
        <p:nvSpPr>
          <p:cNvPr id="3" name="Content Placeholder 2">
            <a:extLst>
              <a:ext uri="{FF2B5EF4-FFF2-40B4-BE49-F238E27FC236}">
                <a16:creationId xmlns:a16="http://schemas.microsoft.com/office/drawing/2014/main" id="{D4FC881E-C553-D61E-CFAE-56473318D376}"/>
              </a:ext>
            </a:extLst>
          </p:cNvPr>
          <p:cNvSpPr>
            <a:spLocks noGrp="1"/>
          </p:cNvSpPr>
          <p:nvPr>
            <p:ph idx="1"/>
          </p:nvPr>
        </p:nvSpPr>
        <p:spPr>
          <a:xfrm>
            <a:off x="2346960" y="1981200"/>
            <a:ext cx="7543801" cy="4248150"/>
          </a:xfrm>
        </p:spPr>
        <p:txBody>
          <a:bodyPr>
            <a:normAutofit lnSpcReduction="10000"/>
          </a:bodyPr>
          <a:lstStyle/>
          <a:p>
            <a:pPr>
              <a:buFont typeface="Wingdings" panose="05000000000000000000" pitchFamily="2" charset="2"/>
              <a:buChar char="v"/>
            </a:pPr>
            <a:r>
              <a:rPr lang="en-US" dirty="0"/>
              <a:t> 2024 sees the first EU ruling  - a Czech court ruled that AI-generated works cannot enjoy protection under its copyright law</a:t>
            </a:r>
          </a:p>
          <a:p>
            <a:pPr>
              <a:buFont typeface="Wingdings" panose="05000000000000000000" pitchFamily="2" charset="2"/>
              <a:buChar char="v"/>
            </a:pPr>
            <a:r>
              <a:rPr lang="en-US" dirty="0"/>
              <a:t> June 2024 sees Regulation (EU) 2024/1689 </a:t>
            </a:r>
            <a:r>
              <a:rPr lang="en-US" dirty="0" err="1"/>
              <a:t>harmonised</a:t>
            </a:r>
            <a:r>
              <a:rPr lang="en-US" dirty="0"/>
              <a:t> rules on artificial intelligence. Recitals 104 to 109 and Article 53 confirm the need for copyright licenses of inputs but do not assist on authorship of outputs.</a:t>
            </a:r>
          </a:p>
          <a:p>
            <a:pPr>
              <a:buFont typeface="Wingdings" panose="05000000000000000000" pitchFamily="2" charset="2"/>
              <a:buChar char="v"/>
            </a:pPr>
            <a:endParaRPr lang="en-US" dirty="0"/>
          </a:p>
          <a:p>
            <a:pPr>
              <a:buFont typeface="Wingdings" panose="05000000000000000000" pitchFamily="2" charset="2"/>
              <a:buChar char="v"/>
            </a:pPr>
            <a:r>
              <a:rPr lang="en-US" dirty="0"/>
              <a:t> the Copyright, Designs and Patents Act 1988 allows protection for computer generated works i.e. a work "generated by a computer in circumstances that there is no human author of the work".</a:t>
            </a:r>
          </a:p>
          <a:p>
            <a:pPr>
              <a:buFont typeface="Wingdings" panose="05000000000000000000" pitchFamily="2" charset="2"/>
              <a:buChar char="v"/>
            </a:pPr>
            <a:r>
              <a:rPr lang="en-US" dirty="0"/>
              <a:t> Under section 9(3) of the CDPA, the author for copyright ownership purposes of computer generated work is "the person by whom the arrangements necessary for the creation of the work are undertaken“</a:t>
            </a:r>
          </a:p>
          <a:p>
            <a:endParaRPr lang="en-AU" dirty="0"/>
          </a:p>
        </p:txBody>
      </p:sp>
    </p:spTree>
    <p:extLst>
      <p:ext uri="{BB962C8B-B14F-4D97-AF65-F5344CB8AC3E}">
        <p14:creationId xmlns:p14="http://schemas.microsoft.com/office/powerpoint/2010/main" val="3081824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35230A27-1553-42F8-99D7-829868E137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0" name="Rectangle 19">
            <a:extLst>
              <a:ext uri="{FF2B5EF4-FFF2-40B4-BE49-F238E27FC236}">
                <a16:creationId xmlns:a16="http://schemas.microsoft.com/office/drawing/2014/main" id="{A772232D-B4D6-429F-B3D1-2D9891B85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1765173" y="320040"/>
            <a:ext cx="8661654" cy="6217920"/>
          </a:xfrm>
          <a:prstGeom prst="rect">
            <a:avLst/>
          </a:prstGeom>
          <a:solidFill>
            <a:schemeClr val="bg2"/>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585F2AD4-65ED-830E-442E-143FE8F4A11F}"/>
              </a:ext>
            </a:extLst>
          </p:cNvPr>
          <p:cNvSpPr>
            <a:spLocks noGrp="1"/>
          </p:cNvSpPr>
          <p:nvPr>
            <p:ph type="title"/>
          </p:nvPr>
        </p:nvSpPr>
        <p:spPr>
          <a:xfrm>
            <a:off x="2247772" y="963998"/>
            <a:ext cx="2441018" cy="4938361"/>
          </a:xfrm>
        </p:spPr>
        <p:txBody>
          <a:bodyPr anchor="ctr">
            <a:normAutofit/>
          </a:bodyPr>
          <a:lstStyle/>
          <a:p>
            <a:pPr algn="r"/>
            <a:r>
              <a:rPr lang="en-US" sz="3800"/>
              <a:t>GenAI users as possible authors</a:t>
            </a:r>
          </a:p>
        </p:txBody>
      </p:sp>
      <p:cxnSp>
        <p:nvCxnSpPr>
          <p:cNvPr id="22" name="Straight Connector 21">
            <a:extLst>
              <a:ext uri="{FF2B5EF4-FFF2-40B4-BE49-F238E27FC236}">
                <a16:creationId xmlns:a16="http://schemas.microsoft.com/office/drawing/2014/main" id="{02CC3441-26B3-4381-B3DF-8AE3C288BC0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11688" y="2057399"/>
            <a:ext cx="0" cy="27432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17C88F0-FAE1-3261-4FD9-61AE7DB0000E}"/>
              </a:ext>
            </a:extLst>
          </p:cNvPr>
          <p:cNvSpPr>
            <a:spLocks noGrp="1"/>
          </p:cNvSpPr>
          <p:nvPr>
            <p:ph idx="1"/>
          </p:nvPr>
        </p:nvSpPr>
        <p:spPr>
          <a:xfrm>
            <a:off x="5375162" y="963508"/>
            <a:ext cx="4601323" cy="4938851"/>
          </a:xfrm>
        </p:spPr>
        <p:txBody>
          <a:bodyPr anchor="ctr">
            <a:normAutofit/>
          </a:bodyPr>
          <a:lstStyle/>
          <a:p>
            <a:endParaRPr lang="en-US" sz="1600"/>
          </a:p>
          <a:p>
            <a:r>
              <a:rPr lang="en-US" sz="1600"/>
              <a:t>The “prompter” of a GenAI system , if human, may be any author if they have contributed ‘independent intellectual effort’ as part of creating the work but this is likely to depend on</a:t>
            </a:r>
          </a:p>
          <a:p>
            <a:endParaRPr lang="en-US" sz="1600"/>
          </a:p>
          <a:p>
            <a:pPr lvl="1"/>
            <a:r>
              <a:rPr lang="en-US" sz="1600"/>
              <a:t>the knowledge, complexity and skill used by them”, and</a:t>
            </a:r>
          </a:p>
          <a:p>
            <a:pPr lvl="1"/>
            <a:r>
              <a:rPr lang="en-US" sz="1600"/>
              <a:t>the level of human intervention used to augment any output.</a:t>
            </a:r>
          </a:p>
          <a:p>
            <a:pPr marL="201168" lvl="1" indent="0">
              <a:buNone/>
            </a:pPr>
            <a:endParaRPr lang="en-US" sz="1600"/>
          </a:p>
          <a:p>
            <a:pPr marL="201168" lvl="1" indent="0">
              <a:buNone/>
            </a:pPr>
            <a:r>
              <a:rPr lang="en-US" sz="1600"/>
              <a:t>Even if the complexity of a prompt could (theoretically) justify copyright to the output, AI users must also be prepared to evidence the causality of how their prompt (i.e., their creative choices) led to the creation of the output in question.</a:t>
            </a:r>
          </a:p>
          <a:p>
            <a:pPr lvl="1"/>
            <a:endParaRPr lang="en-US" sz="1600"/>
          </a:p>
        </p:txBody>
      </p:sp>
      <p:sp>
        <p:nvSpPr>
          <p:cNvPr id="4" name="Slide Number Placeholder 3">
            <a:extLst>
              <a:ext uri="{FF2B5EF4-FFF2-40B4-BE49-F238E27FC236}">
                <a16:creationId xmlns:a16="http://schemas.microsoft.com/office/drawing/2014/main" id="{92CA1E7A-501B-DFB2-FFC2-BD0E8086398B}"/>
              </a:ext>
            </a:extLst>
          </p:cNvPr>
          <p:cNvSpPr>
            <a:spLocks noGrp="1"/>
          </p:cNvSpPr>
          <p:nvPr>
            <p:ph type="sldNum" sz="quarter" idx="12"/>
          </p:nvPr>
        </p:nvSpPr>
        <p:spPr>
          <a:xfrm flipV="1">
            <a:off x="9866376" y="6824911"/>
            <a:ext cx="66987" cy="45719"/>
          </a:xfrm>
        </p:spPr>
        <p:txBody>
          <a:bodyPr>
            <a:normAutofit fontScale="25000" lnSpcReduction="20000"/>
          </a:bodyPr>
          <a:lstStyle/>
          <a:p>
            <a:pPr defTabSz="457200">
              <a:spcAft>
                <a:spcPts val="600"/>
              </a:spcAft>
            </a:pPr>
            <a:endParaRPr lang="en-AU" dirty="0">
              <a:solidFill>
                <a:prstClr val="black">
                  <a:lumMod val="65000"/>
                  <a:lumOff val="35000"/>
                </a:prstClr>
              </a:solidFill>
              <a:latin typeface="Calibri" panose="020F0502020204030204"/>
            </a:endParaRPr>
          </a:p>
        </p:txBody>
      </p:sp>
    </p:spTree>
    <p:extLst>
      <p:ext uri="{BB962C8B-B14F-4D97-AF65-F5344CB8AC3E}">
        <p14:creationId xmlns:p14="http://schemas.microsoft.com/office/powerpoint/2010/main" val="19098549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4E4490D0-3672-446A-AC12-B4830333BD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6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29" name="Rectangle 28">
            <a:extLst>
              <a:ext uri="{FF2B5EF4-FFF2-40B4-BE49-F238E27FC236}">
                <a16:creationId xmlns:a16="http://schemas.microsoft.com/office/drawing/2014/main" id="{39CB82C2-DF65-4EC1-8280-F201D50F57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cxnSp>
        <p:nvCxnSpPr>
          <p:cNvPr id="31" name="Straight Connector 30">
            <a:extLst>
              <a:ext uri="{FF2B5EF4-FFF2-40B4-BE49-F238E27FC236}">
                <a16:creationId xmlns:a16="http://schemas.microsoft.com/office/drawing/2014/main" id="{7E1D4427-852B-4B37-8E76-0E9F1810BA2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429743"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33" name="Rectangle 32">
            <a:extLst>
              <a:ext uri="{FF2B5EF4-FFF2-40B4-BE49-F238E27FC236}">
                <a16:creationId xmlns:a16="http://schemas.microsoft.com/office/drawing/2014/main" id="{9971ECC5-51D9-4E70-89C1-3DCF3A3725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0441C49E-1A43-F790-FA47-DD9399D30675}"/>
              </a:ext>
            </a:extLst>
          </p:cNvPr>
          <p:cNvSpPr>
            <a:spLocks noGrp="1"/>
          </p:cNvSpPr>
          <p:nvPr>
            <p:ph type="title"/>
          </p:nvPr>
        </p:nvSpPr>
        <p:spPr>
          <a:xfrm>
            <a:off x="2002818" y="3766458"/>
            <a:ext cx="8181805" cy="1654629"/>
          </a:xfrm>
        </p:spPr>
        <p:txBody>
          <a:bodyPr vert="horz" lIns="91440" tIns="45720" rIns="91440" bIns="45720" rtlCol="0" anchor="b">
            <a:normAutofit/>
          </a:bodyPr>
          <a:lstStyle/>
          <a:p>
            <a:pPr algn="ctr"/>
            <a:r>
              <a:rPr lang="en-US" sz="5200" i="1">
                <a:solidFill>
                  <a:schemeClr val="tx1">
                    <a:lumMod val="85000"/>
                    <a:lumOff val="15000"/>
                  </a:schemeClr>
                </a:solidFill>
              </a:rPr>
              <a:t>Proving creative input</a:t>
            </a:r>
          </a:p>
        </p:txBody>
      </p:sp>
      <p:pic>
        <p:nvPicPr>
          <p:cNvPr id="5" name="Content Placeholder 4" descr="Badge Question Mark with solid fill">
            <a:extLst>
              <a:ext uri="{FF2B5EF4-FFF2-40B4-BE49-F238E27FC236}">
                <a16:creationId xmlns:a16="http://schemas.microsoft.com/office/drawing/2014/main" id="{1C1E86B3-7233-63D7-BED8-FDA372DA8B88}"/>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4837996" y="932017"/>
            <a:ext cx="2506511" cy="2506511"/>
          </a:xfrm>
          <a:prstGeom prst="rect">
            <a:avLst/>
          </a:prstGeom>
        </p:spPr>
      </p:pic>
      <p:cxnSp>
        <p:nvCxnSpPr>
          <p:cNvPr id="35" name="Straight Connector 34">
            <a:extLst>
              <a:ext uri="{FF2B5EF4-FFF2-40B4-BE49-F238E27FC236}">
                <a16:creationId xmlns:a16="http://schemas.microsoft.com/office/drawing/2014/main" id="{432529AB-8F99-47FB-91B5-93565E543B5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150369" y="5433708"/>
            <a:ext cx="788670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E11F890-74C3-40C9-9A8B-A80E387043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2"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39" name="Rectangle 38">
            <a:extLst>
              <a:ext uri="{FF2B5EF4-FFF2-40B4-BE49-F238E27FC236}">
                <a16:creationId xmlns:a16="http://schemas.microsoft.com/office/drawing/2014/main" id="{27874070-078A-470B-9C8C-BD1BCB55A0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Tree>
    <p:extLst>
      <p:ext uri="{BB962C8B-B14F-4D97-AF65-F5344CB8AC3E}">
        <p14:creationId xmlns:p14="http://schemas.microsoft.com/office/powerpoint/2010/main" val="794708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58245-41E1-46EA-1ACB-E5C3B75F2DAD}"/>
              </a:ext>
            </a:extLst>
          </p:cNvPr>
          <p:cNvSpPr>
            <a:spLocks noGrp="1"/>
          </p:cNvSpPr>
          <p:nvPr>
            <p:ph type="title"/>
          </p:nvPr>
        </p:nvSpPr>
        <p:spPr>
          <a:xfrm>
            <a:off x="840626" y="18848"/>
            <a:ext cx="10515600" cy="1325563"/>
          </a:xfrm>
        </p:spPr>
        <p:txBody>
          <a:bodyPr/>
          <a:lstStyle/>
          <a:p>
            <a:r>
              <a:rPr lang="en-AU" dirty="0">
                <a:solidFill>
                  <a:srgbClr val="000000"/>
                </a:solidFill>
                <a:latin typeface="Calibri" panose="020F0502020204030204" pitchFamily="34" charset="0"/>
                <a:ea typeface="Times New Roman" panose="02020603050405020304" pitchFamily="18" charset="0"/>
              </a:rPr>
              <a:t>Introduction to advanced AI tools</a:t>
            </a:r>
            <a:endParaRPr lang="en-AU" dirty="0"/>
          </a:p>
        </p:txBody>
      </p:sp>
      <p:pic>
        <p:nvPicPr>
          <p:cNvPr id="12" name="Content Placeholder 11">
            <a:extLst>
              <a:ext uri="{FF2B5EF4-FFF2-40B4-BE49-F238E27FC236}">
                <a16:creationId xmlns:a16="http://schemas.microsoft.com/office/drawing/2014/main" id="{9391E01D-1B0D-E9AF-FB9D-70695E70D05B}"/>
              </a:ext>
            </a:extLst>
          </p:cNvPr>
          <p:cNvPicPr>
            <a:picLocks noGrp="1" noChangeAspect="1"/>
          </p:cNvPicPr>
          <p:nvPr>
            <p:ph idx="1"/>
          </p:nvPr>
        </p:nvPicPr>
        <p:blipFill>
          <a:blip r:embed="rId2"/>
          <a:stretch>
            <a:fillRect/>
          </a:stretch>
        </p:blipFill>
        <p:spPr>
          <a:xfrm>
            <a:off x="8718882" y="4638916"/>
            <a:ext cx="2495898" cy="504895"/>
          </a:xfrm>
        </p:spPr>
      </p:pic>
      <p:sp>
        <p:nvSpPr>
          <p:cNvPr id="4" name="Slide Number Placeholder 3">
            <a:extLst>
              <a:ext uri="{FF2B5EF4-FFF2-40B4-BE49-F238E27FC236}">
                <a16:creationId xmlns:a16="http://schemas.microsoft.com/office/drawing/2014/main" id="{A7786151-3777-4C91-49B8-4C794BB7DADC}"/>
              </a:ext>
            </a:extLst>
          </p:cNvPr>
          <p:cNvSpPr>
            <a:spLocks noGrp="1"/>
          </p:cNvSpPr>
          <p:nvPr>
            <p:ph type="sldNum" sz="quarter" idx="12"/>
          </p:nvPr>
        </p:nvSpPr>
        <p:spPr/>
        <p:txBody>
          <a:bodyPr/>
          <a:lstStyle/>
          <a:p>
            <a:fld id="{03F39873-4EE6-4357-A001-6C17E9D52876}" type="slidenum">
              <a:rPr lang="en-AU" smtClean="0"/>
              <a:pPr/>
              <a:t>4</a:t>
            </a:fld>
            <a:endParaRPr lang="en-AU"/>
          </a:p>
        </p:txBody>
      </p:sp>
      <p:pic>
        <p:nvPicPr>
          <p:cNvPr id="6" name="Picture 5">
            <a:extLst>
              <a:ext uri="{FF2B5EF4-FFF2-40B4-BE49-F238E27FC236}">
                <a16:creationId xmlns:a16="http://schemas.microsoft.com/office/drawing/2014/main" id="{12E486EC-2535-8237-F34A-2E22DCCE402A}"/>
              </a:ext>
            </a:extLst>
          </p:cNvPr>
          <p:cNvPicPr>
            <a:picLocks noChangeAspect="1"/>
          </p:cNvPicPr>
          <p:nvPr/>
        </p:nvPicPr>
        <p:blipFill>
          <a:blip r:embed="rId3"/>
          <a:stretch>
            <a:fillRect/>
          </a:stretch>
        </p:blipFill>
        <p:spPr>
          <a:xfrm>
            <a:off x="2597077" y="3038310"/>
            <a:ext cx="2290145" cy="656095"/>
          </a:xfrm>
          <a:prstGeom prst="rect">
            <a:avLst/>
          </a:prstGeom>
        </p:spPr>
      </p:pic>
      <p:pic>
        <p:nvPicPr>
          <p:cNvPr id="8" name="Picture 7">
            <a:extLst>
              <a:ext uri="{FF2B5EF4-FFF2-40B4-BE49-F238E27FC236}">
                <a16:creationId xmlns:a16="http://schemas.microsoft.com/office/drawing/2014/main" id="{6A484F90-BFD0-14F8-52D0-130F3656E7BB}"/>
              </a:ext>
            </a:extLst>
          </p:cNvPr>
          <p:cNvPicPr>
            <a:picLocks noChangeAspect="1"/>
          </p:cNvPicPr>
          <p:nvPr/>
        </p:nvPicPr>
        <p:blipFill>
          <a:blip r:embed="rId4"/>
          <a:stretch>
            <a:fillRect/>
          </a:stretch>
        </p:blipFill>
        <p:spPr>
          <a:xfrm>
            <a:off x="9249394" y="1777249"/>
            <a:ext cx="2101980" cy="660622"/>
          </a:xfrm>
          <a:prstGeom prst="rect">
            <a:avLst/>
          </a:prstGeom>
        </p:spPr>
      </p:pic>
      <p:pic>
        <p:nvPicPr>
          <p:cNvPr id="10" name="Picture 9">
            <a:extLst>
              <a:ext uri="{FF2B5EF4-FFF2-40B4-BE49-F238E27FC236}">
                <a16:creationId xmlns:a16="http://schemas.microsoft.com/office/drawing/2014/main" id="{FB4FEA78-B1CE-F96F-195A-9943E37BB3A1}"/>
              </a:ext>
            </a:extLst>
          </p:cNvPr>
          <p:cNvPicPr>
            <a:picLocks noChangeAspect="1"/>
          </p:cNvPicPr>
          <p:nvPr/>
        </p:nvPicPr>
        <p:blipFill>
          <a:blip r:embed="rId5"/>
          <a:stretch>
            <a:fillRect/>
          </a:stretch>
        </p:blipFill>
        <p:spPr>
          <a:xfrm>
            <a:off x="1014621" y="4806542"/>
            <a:ext cx="2343477" cy="781159"/>
          </a:xfrm>
          <a:prstGeom prst="rect">
            <a:avLst/>
          </a:prstGeom>
        </p:spPr>
      </p:pic>
      <p:pic>
        <p:nvPicPr>
          <p:cNvPr id="14" name="Picture 13">
            <a:extLst>
              <a:ext uri="{FF2B5EF4-FFF2-40B4-BE49-F238E27FC236}">
                <a16:creationId xmlns:a16="http://schemas.microsoft.com/office/drawing/2014/main" id="{C826F6F3-9A8A-D11F-004D-4893325F76D0}"/>
              </a:ext>
            </a:extLst>
          </p:cNvPr>
          <p:cNvPicPr>
            <a:picLocks noChangeAspect="1"/>
          </p:cNvPicPr>
          <p:nvPr/>
        </p:nvPicPr>
        <p:blipFill>
          <a:blip r:embed="rId6"/>
          <a:stretch>
            <a:fillRect/>
          </a:stretch>
        </p:blipFill>
        <p:spPr>
          <a:xfrm>
            <a:off x="8347355" y="5262890"/>
            <a:ext cx="3238952" cy="266737"/>
          </a:xfrm>
          <a:prstGeom prst="rect">
            <a:avLst/>
          </a:prstGeom>
        </p:spPr>
      </p:pic>
      <p:grpSp>
        <p:nvGrpSpPr>
          <p:cNvPr id="23" name="Group 22">
            <a:extLst>
              <a:ext uri="{FF2B5EF4-FFF2-40B4-BE49-F238E27FC236}">
                <a16:creationId xmlns:a16="http://schemas.microsoft.com/office/drawing/2014/main" id="{3E33E380-E192-DAC3-E47E-63669F7AA0A3}"/>
              </a:ext>
            </a:extLst>
          </p:cNvPr>
          <p:cNvGrpSpPr/>
          <p:nvPr/>
        </p:nvGrpSpPr>
        <p:grpSpPr>
          <a:xfrm>
            <a:off x="4790893" y="4638702"/>
            <a:ext cx="2610214" cy="1093790"/>
            <a:chOff x="4679132" y="3057466"/>
            <a:chExt cx="2610214" cy="1093790"/>
          </a:xfrm>
        </p:grpSpPr>
        <p:pic>
          <p:nvPicPr>
            <p:cNvPr id="18" name="Picture 17">
              <a:extLst>
                <a:ext uri="{FF2B5EF4-FFF2-40B4-BE49-F238E27FC236}">
                  <a16:creationId xmlns:a16="http://schemas.microsoft.com/office/drawing/2014/main" id="{33E153B9-6986-C367-31BB-868E04BC517E}"/>
                </a:ext>
              </a:extLst>
            </p:cNvPr>
            <p:cNvPicPr>
              <a:picLocks noChangeAspect="1"/>
            </p:cNvPicPr>
            <p:nvPr/>
          </p:nvPicPr>
          <p:blipFill>
            <a:blip r:embed="rId7"/>
            <a:stretch>
              <a:fillRect/>
            </a:stretch>
          </p:blipFill>
          <p:spPr>
            <a:xfrm>
              <a:off x="4912854" y="3057466"/>
              <a:ext cx="2000529" cy="419158"/>
            </a:xfrm>
            <a:prstGeom prst="rect">
              <a:avLst/>
            </a:prstGeom>
          </p:spPr>
        </p:pic>
        <p:pic>
          <p:nvPicPr>
            <p:cNvPr id="20" name="Picture 19">
              <a:extLst>
                <a:ext uri="{FF2B5EF4-FFF2-40B4-BE49-F238E27FC236}">
                  <a16:creationId xmlns:a16="http://schemas.microsoft.com/office/drawing/2014/main" id="{A61318D2-E9F0-6D2C-7E7D-CC4EB74A8870}"/>
                </a:ext>
              </a:extLst>
            </p:cNvPr>
            <p:cNvPicPr>
              <a:picLocks noChangeAspect="1"/>
            </p:cNvPicPr>
            <p:nvPr/>
          </p:nvPicPr>
          <p:blipFill>
            <a:blip r:embed="rId8"/>
            <a:stretch>
              <a:fillRect/>
            </a:stretch>
          </p:blipFill>
          <p:spPr>
            <a:xfrm>
              <a:off x="4679132" y="3570150"/>
              <a:ext cx="2610214" cy="581106"/>
            </a:xfrm>
            <a:prstGeom prst="rect">
              <a:avLst/>
            </a:prstGeom>
          </p:spPr>
        </p:pic>
      </p:grpSp>
      <p:grpSp>
        <p:nvGrpSpPr>
          <p:cNvPr id="26" name="Group 25">
            <a:extLst>
              <a:ext uri="{FF2B5EF4-FFF2-40B4-BE49-F238E27FC236}">
                <a16:creationId xmlns:a16="http://schemas.microsoft.com/office/drawing/2014/main" id="{ACB4D5BF-D28C-7F6C-E06C-3B928BE4FE46}"/>
              </a:ext>
            </a:extLst>
          </p:cNvPr>
          <p:cNvGrpSpPr/>
          <p:nvPr/>
        </p:nvGrpSpPr>
        <p:grpSpPr>
          <a:xfrm>
            <a:off x="840626" y="1672402"/>
            <a:ext cx="2556663" cy="1009791"/>
            <a:chOff x="2331715" y="1564837"/>
            <a:chExt cx="2556663" cy="1009791"/>
          </a:xfrm>
        </p:grpSpPr>
        <p:pic>
          <p:nvPicPr>
            <p:cNvPr id="22" name="Picture 21">
              <a:extLst>
                <a:ext uri="{FF2B5EF4-FFF2-40B4-BE49-F238E27FC236}">
                  <a16:creationId xmlns:a16="http://schemas.microsoft.com/office/drawing/2014/main" id="{C36BFB1A-4CC2-2EEE-DC70-C15229C54A0A}"/>
                </a:ext>
              </a:extLst>
            </p:cNvPr>
            <p:cNvPicPr>
              <a:picLocks noChangeAspect="1"/>
            </p:cNvPicPr>
            <p:nvPr/>
          </p:nvPicPr>
          <p:blipFill>
            <a:blip r:embed="rId9"/>
            <a:stretch>
              <a:fillRect/>
            </a:stretch>
          </p:blipFill>
          <p:spPr>
            <a:xfrm>
              <a:off x="3287955" y="1564837"/>
              <a:ext cx="1600423" cy="1009791"/>
            </a:xfrm>
            <a:prstGeom prst="rect">
              <a:avLst/>
            </a:prstGeom>
          </p:spPr>
        </p:pic>
        <p:pic>
          <p:nvPicPr>
            <p:cNvPr id="25" name="Picture 24">
              <a:extLst>
                <a:ext uri="{FF2B5EF4-FFF2-40B4-BE49-F238E27FC236}">
                  <a16:creationId xmlns:a16="http://schemas.microsoft.com/office/drawing/2014/main" id="{4FE77748-A8EC-DB73-AB08-2C895F319F71}"/>
                </a:ext>
              </a:extLst>
            </p:cNvPr>
            <p:cNvPicPr>
              <a:picLocks noChangeAspect="1"/>
            </p:cNvPicPr>
            <p:nvPr/>
          </p:nvPicPr>
          <p:blipFill>
            <a:blip r:embed="rId10"/>
            <a:stretch>
              <a:fillRect/>
            </a:stretch>
          </p:blipFill>
          <p:spPr>
            <a:xfrm>
              <a:off x="2331715" y="1875478"/>
              <a:ext cx="1295581" cy="400106"/>
            </a:xfrm>
            <a:prstGeom prst="rect">
              <a:avLst/>
            </a:prstGeom>
          </p:spPr>
        </p:pic>
      </p:grpSp>
      <p:sp>
        <p:nvSpPr>
          <p:cNvPr id="27" name="TextBox 26">
            <a:extLst>
              <a:ext uri="{FF2B5EF4-FFF2-40B4-BE49-F238E27FC236}">
                <a16:creationId xmlns:a16="http://schemas.microsoft.com/office/drawing/2014/main" id="{052A33CE-723B-CCDF-8F89-D6C2FA3CC13F}"/>
              </a:ext>
            </a:extLst>
          </p:cNvPr>
          <p:cNvSpPr txBox="1"/>
          <p:nvPr/>
        </p:nvSpPr>
        <p:spPr>
          <a:xfrm>
            <a:off x="5099533" y="1032496"/>
            <a:ext cx="2303516" cy="461665"/>
          </a:xfrm>
          <a:prstGeom prst="rect">
            <a:avLst/>
          </a:prstGeom>
          <a:noFill/>
        </p:spPr>
        <p:txBody>
          <a:bodyPr wrap="none" rtlCol="0">
            <a:spAutoFit/>
          </a:bodyPr>
          <a:lstStyle/>
          <a:p>
            <a:r>
              <a:rPr lang="en-AU" sz="2400" b="1" dirty="0">
                <a:solidFill>
                  <a:srgbClr val="C00000"/>
                </a:solidFill>
              </a:rPr>
              <a:t>General purpose</a:t>
            </a:r>
          </a:p>
        </p:txBody>
      </p:sp>
      <p:sp>
        <p:nvSpPr>
          <p:cNvPr id="28" name="TextBox 27">
            <a:extLst>
              <a:ext uri="{FF2B5EF4-FFF2-40B4-BE49-F238E27FC236}">
                <a16:creationId xmlns:a16="http://schemas.microsoft.com/office/drawing/2014/main" id="{7B6EB53F-0D7C-B813-5E72-092240F2ED98}"/>
              </a:ext>
            </a:extLst>
          </p:cNvPr>
          <p:cNvSpPr txBox="1"/>
          <p:nvPr/>
        </p:nvSpPr>
        <p:spPr>
          <a:xfrm>
            <a:off x="5162963" y="4005556"/>
            <a:ext cx="2053063" cy="461665"/>
          </a:xfrm>
          <a:prstGeom prst="rect">
            <a:avLst/>
          </a:prstGeom>
          <a:noFill/>
        </p:spPr>
        <p:txBody>
          <a:bodyPr wrap="none" rtlCol="0">
            <a:spAutoFit/>
          </a:bodyPr>
          <a:lstStyle/>
          <a:p>
            <a:r>
              <a:rPr lang="en-AU" sz="2400" b="1" dirty="0">
                <a:solidFill>
                  <a:srgbClr val="C00000"/>
                </a:solidFill>
              </a:rPr>
              <a:t>Specialist legal</a:t>
            </a:r>
          </a:p>
        </p:txBody>
      </p:sp>
      <p:pic>
        <p:nvPicPr>
          <p:cNvPr id="30" name="Picture 29">
            <a:extLst>
              <a:ext uri="{FF2B5EF4-FFF2-40B4-BE49-F238E27FC236}">
                <a16:creationId xmlns:a16="http://schemas.microsoft.com/office/drawing/2014/main" id="{DF617E51-5788-D01B-409A-9A3894122E90}"/>
              </a:ext>
            </a:extLst>
          </p:cNvPr>
          <p:cNvPicPr>
            <a:picLocks noChangeAspect="1"/>
          </p:cNvPicPr>
          <p:nvPr/>
        </p:nvPicPr>
        <p:blipFill>
          <a:blip r:embed="rId11"/>
          <a:stretch>
            <a:fillRect/>
          </a:stretch>
        </p:blipFill>
        <p:spPr>
          <a:xfrm>
            <a:off x="4951964" y="1672403"/>
            <a:ext cx="2676899" cy="1009791"/>
          </a:xfrm>
          <a:prstGeom prst="rect">
            <a:avLst/>
          </a:prstGeom>
        </p:spPr>
      </p:pic>
      <p:pic>
        <p:nvPicPr>
          <p:cNvPr id="32" name="Picture 31">
            <a:extLst>
              <a:ext uri="{FF2B5EF4-FFF2-40B4-BE49-F238E27FC236}">
                <a16:creationId xmlns:a16="http://schemas.microsoft.com/office/drawing/2014/main" id="{EAAFF298-38E1-FAD4-4367-8E01FCB72E38}"/>
              </a:ext>
            </a:extLst>
          </p:cNvPr>
          <p:cNvPicPr>
            <a:picLocks noChangeAspect="1"/>
          </p:cNvPicPr>
          <p:nvPr/>
        </p:nvPicPr>
        <p:blipFill>
          <a:blip r:embed="rId12"/>
          <a:stretch>
            <a:fillRect/>
          </a:stretch>
        </p:blipFill>
        <p:spPr>
          <a:xfrm>
            <a:off x="7145393" y="2831099"/>
            <a:ext cx="2290145" cy="827168"/>
          </a:xfrm>
          <a:prstGeom prst="rect">
            <a:avLst/>
          </a:prstGeom>
        </p:spPr>
      </p:pic>
    </p:spTree>
    <p:extLst>
      <p:ext uri="{BB962C8B-B14F-4D97-AF65-F5344CB8AC3E}">
        <p14:creationId xmlns:p14="http://schemas.microsoft.com/office/powerpoint/2010/main" val="10145999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Different coloured question marks">
            <a:extLst>
              <a:ext uri="{FF2B5EF4-FFF2-40B4-BE49-F238E27FC236}">
                <a16:creationId xmlns:a16="http://schemas.microsoft.com/office/drawing/2014/main" id="{276AA97D-B22E-75E7-F3D2-2195ADADB670}"/>
              </a:ext>
            </a:extLst>
          </p:cNvPr>
          <p:cNvPicPr>
            <a:picLocks noChangeAspect="1"/>
          </p:cNvPicPr>
          <p:nvPr/>
        </p:nvPicPr>
        <p:blipFill>
          <a:blip r:embed="rId2">
            <a:duotone>
              <a:schemeClr val="bg2">
                <a:shade val="45000"/>
                <a:satMod val="135000"/>
              </a:schemeClr>
              <a:prstClr val="white"/>
            </a:duotone>
            <a:alphaModFix amt="35000"/>
          </a:blip>
          <a:srcRect l="11936" r="13064"/>
          <a:stretch/>
        </p:blipFill>
        <p:spPr>
          <a:xfrm>
            <a:off x="1524020" y="10"/>
            <a:ext cx="9143980" cy="6857990"/>
          </a:xfrm>
          <a:prstGeom prst="rect">
            <a:avLst/>
          </a:prstGeom>
        </p:spPr>
      </p:pic>
      <p:cxnSp>
        <p:nvCxnSpPr>
          <p:cNvPr id="11" name="Straight Connector 10">
            <a:extLst>
              <a:ext uri="{FF2B5EF4-FFF2-40B4-BE49-F238E27FC236}">
                <a16:creationId xmlns:a16="http://schemas.microsoft.com/office/drawing/2014/main" id="{E9F7CBA9-9D9B-479F-AAB5-BF785971CD8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419149" y="1737845"/>
            <a:ext cx="747522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6163A5C-A591-DC48-E25D-83B489DC633F}"/>
              </a:ext>
            </a:extLst>
          </p:cNvPr>
          <p:cNvSpPr>
            <a:spLocks noGrp="1"/>
          </p:cNvSpPr>
          <p:nvPr>
            <p:ph type="title"/>
          </p:nvPr>
        </p:nvSpPr>
        <p:spPr>
          <a:xfrm>
            <a:off x="2346960" y="286604"/>
            <a:ext cx="7543800" cy="1450757"/>
          </a:xfrm>
        </p:spPr>
        <p:txBody>
          <a:bodyPr>
            <a:normAutofit/>
          </a:bodyPr>
          <a:lstStyle/>
          <a:p>
            <a:r>
              <a:rPr lang="en-US" dirty="0"/>
              <a:t>Looking forward</a:t>
            </a:r>
          </a:p>
        </p:txBody>
      </p:sp>
      <p:sp>
        <p:nvSpPr>
          <p:cNvPr id="3" name="Content Placeholder 2">
            <a:extLst>
              <a:ext uri="{FF2B5EF4-FFF2-40B4-BE49-F238E27FC236}">
                <a16:creationId xmlns:a16="http://schemas.microsoft.com/office/drawing/2014/main" id="{ED39AF36-59FF-3385-35B0-7A134FD73808}"/>
              </a:ext>
            </a:extLst>
          </p:cNvPr>
          <p:cNvSpPr>
            <a:spLocks noGrp="1"/>
          </p:cNvSpPr>
          <p:nvPr>
            <p:ph idx="1"/>
          </p:nvPr>
        </p:nvSpPr>
        <p:spPr>
          <a:xfrm>
            <a:off x="2346960" y="1845734"/>
            <a:ext cx="7543800" cy="4023360"/>
          </a:xfrm>
        </p:spPr>
        <p:txBody>
          <a:bodyPr>
            <a:normAutofit/>
          </a:bodyPr>
          <a:lstStyle/>
          <a:p>
            <a:endParaRPr lang="en-US" dirty="0"/>
          </a:p>
          <a:p>
            <a:r>
              <a:rPr lang="en-US" dirty="0"/>
              <a:t>Works generated by AI don’t presently enjoy copyright protection, but there are signs that they might in the future  if they have “enough” human input.</a:t>
            </a:r>
          </a:p>
          <a:p>
            <a:endParaRPr lang="en-US" dirty="0"/>
          </a:p>
          <a:p>
            <a:r>
              <a:rPr lang="en-US" dirty="0"/>
              <a:t>How much is enough?</a:t>
            </a:r>
          </a:p>
          <a:p>
            <a:pPr lvl="1"/>
            <a:r>
              <a:rPr lang="en-US" dirty="0"/>
              <a:t>how specific do the prompts have to be?</a:t>
            </a:r>
          </a:p>
          <a:p>
            <a:pPr lvl="1"/>
            <a:r>
              <a:rPr lang="en-US" dirty="0"/>
              <a:t>what if you upload your own copyrighted image and then prompt the AI system to alter it in very specific ways?</a:t>
            </a:r>
          </a:p>
          <a:p>
            <a:pPr marL="342900" lvl="1" indent="0">
              <a:buNone/>
            </a:pPr>
            <a:endParaRPr lang="en-US" dirty="0"/>
          </a:p>
          <a:p>
            <a:endParaRPr lang="en-US" dirty="0"/>
          </a:p>
        </p:txBody>
      </p:sp>
      <p:sp>
        <p:nvSpPr>
          <p:cNvPr id="13" name="Rectangle 12">
            <a:extLst>
              <a:ext uri="{FF2B5EF4-FFF2-40B4-BE49-F238E27FC236}">
                <a16:creationId xmlns:a16="http://schemas.microsoft.com/office/drawing/2014/main" id="{154480E5-678B-478F-9170-46502C5FB3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2"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15" name="Rectangle 14">
            <a:extLst>
              <a:ext uri="{FF2B5EF4-FFF2-40B4-BE49-F238E27FC236}">
                <a16:creationId xmlns:a16="http://schemas.microsoft.com/office/drawing/2014/main" id="{B598D875-841B-47A7-B4C8-237DBCE2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0AB3F625-A9DE-7EF6-A6E1-71542A9E045A}"/>
              </a:ext>
            </a:extLst>
          </p:cNvPr>
          <p:cNvSpPr>
            <a:spLocks noGrp="1"/>
          </p:cNvSpPr>
          <p:nvPr>
            <p:ph type="sldNum" sz="quarter" idx="12"/>
          </p:nvPr>
        </p:nvSpPr>
        <p:spPr>
          <a:xfrm>
            <a:off x="9887644" y="6775704"/>
            <a:ext cx="45719" cy="49207"/>
          </a:xfrm>
        </p:spPr>
        <p:txBody>
          <a:bodyPr>
            <a:normAutofit fontScale="25000" lnSpcReduction="20000"/>
          </a:bodyPr>
          <a:lstStyle/>
          <a:p>
            <a:pPr defTabSz="457200">
              <a:spcAft>
                <a:spcPts val="600"/>
              </a:spcAft>
            </a:pPr>
            <a:endParaRPr lang="en-AU" dirty="0">
              <a:latin typeface="Calibri" panose="020F0502020204030204"/>
            </a:endParaRPr>
          </a:p>
        </p:txBody>
      </p:sp>
    </p:spTree>
    <p:extLst>
      <p:ext uri="{BB962C8B-B14F-4D97-AF65-F5344CB8AC3E}">
        <p14:creationId xmlns:p14="http://schemas.microsoft.com/office/powerpoint/2010/main" val="28829435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311973C2-EB8B-452A-A698-4A252FD3AE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2"/>
            <a:ext cx="9144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useBgFill="1">
        <p:nvSpPr>
          <p:cNvPr id="22" name="Rectangle 21">
            <a:extLst>
              <a:ext uri="{FF2B5EF4-FFF2-40B4-BE49-F238E27FC236}">
                <a16:creationId xmlns:a16="http://schemas.microsoft.com/office/drawing/2014/main" id="{10162E77-11AD-44A7-84EC-40C59EEFBD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019345C4-9C41-B97C-B42C-F2719245EF55}"/>
              </a:ext>
            </a:extLst>
          </p:cNvPr>
          <p:cNvSpPr>
            <a:spLocks noGrp="1"/>
          </p:cNvSpPr>
          <p:nvPr>
            <p:ph type="title"/>
          </p:nvPr>
        </p:nvSpPr>
        <p:spPr>
          <a:xfrm>
            <a:off x="5410201" y="634947"/>
            <a:ext cx="4776107" cy="1450757"/>
          </a:xfrm>
        </p:spPr>
        <p:txBody>
          <a:bodyPr>
            <a:normAutofit/>
          </a:bodyPr>
          <a:lstStyle/>
          <a:p>
            <a:r>
              <a:rPr lang="en-US" i="1" dirty="0"/>
              <a:t>Live issues for copyright and AI</a:t>
            </a:r>
          </a:p>
        </p:txBody>
      </p:sp>
      <p:pic>
        <p:nvPicPr>
          <p:cNvPr id="6" name="Picture 5">
            <a:extLst>
              <a:ext uri="{FF2B5EF4-FFF2-40B4-BE49-F238E27FC236}">
                <a16:creationId xmlns:a16="http://schemas.microsoft.com/office/drawing/2014/main" id="{F3825F1B-1870-E036-4F04-CF83DB29D625}"/>
              </a:ext>
            </a:extLst>
          </p:cNvPr>
          <p:cNvPicPr>
            <a:picLocks noChangeAspect="1"/>
          </p:cNvPicPr>
          <p:nvPr/>
        </p:nvPicPr>
        <p:blipFill>
          <a:blip r:embed="rId2"/>
          <a:srcRect l="30277" r="35808" b="1"/>
          <a:stretch/>
        </p:blipFill>
        <p:spPr>
          <a:xfrm>
            <a:off x="1524020" y="-12128"/>
            <a:ext cx="3490702" cy="6870127"/>
          </a:xfrm>
          <a:prstGeom prst="rect">
            <a:avLst/>
          </a:prstGeom>
        </p:spPr>
      </p:pic>
      <p:cxnSp>
        <p:nvCxnSpPr>
          <p:cNvPr id="27" name="Straight Connector 26">
            <a:extLst>
              <a:ext uri="{FF2B5EF4-FFF2-40B4-BE49-F238E27FC236}">
                <a16:creationId xmlns:a16="http://schemas.microsoft.com/office/drawing/2014/main" id="{5AB158E9-1B40-4CD6-95F0-95CA11DF7B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89713" y="2085703"/>
            <a:ext cx="4628015"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C576BDA4-EF68-B103-CDE4-7AA1D519A4D1}"/>
              </a:ext>
            </a:extLst>
          </p:cNvPr>
          <p:cNvSpPr>
            <a:spLocks noGrp="1"/>
          </p:cNvSpPr>
          <p:nvPr>
            <p:ph idx="1"/>
          </p:nvPr>
        </p:nvSpPr>
        <p:spPr>
          <a:xfrm>
            <a:off x="5410201" y="2198914"/>
            <a:ext cx="4776107" cy="3670180"/>
          </a:xfrm>
        </p:spPr>
        <p:txBody>
          <a:bodyPr>
            <a:normAutofit/>
          </a:bodyPr>
          <a:lstStyle/>
          <a:p>
            <a:endParaRPr lang="en-US" sz="1700"/>
          </a:p>
          <a:p>
            <a:pPr>
              <a:buFont typeface="Wingdings" panose="05000000000000000000" pitchFamily="2" charset="2"/>
              <a:buChar char="§"/>
            </a:pPr>
            <a:r>
              <a:rPr lang="en-US" sz="1700"/>
              <a:t> the liability of AI systems built using infringing materials</a:t>
            </a:r>
          </a:p>
          <a:p>
            <a:pPr>
              <a:buFont typeface="Wingdings" panose="05000000000000000000" pitchFamily="2" charset="2"/>
              <a:buChar char="§"/>
            </a:pPr>
            <a:endParaRPr lang="en-US" sz="1700"/>
          </a:p>
          <a:p>
            <a:pPr>
              <a:buFont typeface="Wingdings" panose="05000000000000000000" pitchFamily="2" charset="2"/>
              <a:buChar char="§"/>
            </a:pPr>
            <a:r>
              <a:rPr lang="en-US" sz="1700"/>
              <a:t> whether some or all AI outputs should be copyright protected </a:t>
            </a:r>
          </a:p>
          <a:p>
            <a:pPr>
              <a:buFont typeface="Wingdings" panose="05000000000000000000" pitchFamily="2" charset="2"/>
              <a:buChar char="§"/>
            </a:pPr>
            <a:endParaRPr lang="en-US" sz="1700"/>
          </a:p>
          <a:p>
            <a:pPr>
              <a:buFont typeface="Wingdings" panose="05000000000000000000" pitchFamily="2" charset="2"/>
              <a:buChar char="§"/>
            </a:pPr>
            <a:r>
              <a:rPr lang="en-US" sz="1700"/>
              <a:t> balance between encouraging investment in AI technologies and protecting investments that have already been made in the material being used to train them.</a:t>
            </a:r>
          </a:p>
        </p:txBody>
      </p:sp>
      <p:sp>
        <p:nvSpPr>
          <p:cNvPr id="4" name="Slide Number Placeholder 3">
            <a:extLst>
              <a:ext uri="{FF2B5EF4-FFF2-40B4-BE49-F238E27FC236}">
                <a16:creationId xmlns:a16="http://schemas.microsoft.com/office/drawing/2014/main" id="{8FF29F57-F6CA-4175-7260-1626B010A164}"/>
              </a:ext>
            </a:extLst>
          </p:cNvPr>
          <p:cNvSpPr>
            <a:spLocks noGrp="1"/>
          </p:cNvSpPr>
          <p:nvPr>
            <p:ph type="sldNum" sz="quarter" idx="12"/>
          </p:nvPr>
        </p:nvSpPr>
        <p:spPr>
          <a:xfrm>
            <a:off x="8949344" y="6459786"/>
            <a:ext cx="984019" cy="365125"/>
          </a:xfrm>
        </p:spPr>
        <p:txBody>
          <a:bodyPr>
            <a:normAutofit/>
          </a:bodyPr>
          <a:lstStyle/>
          <a:p>
            <a:pPr defTabSz="457200">
              <a:spcAft>
                <a:spcPts val="600"/>
              </a:spcAft>
            </a:pPr>
            <a:endParaRPr lang="en-AU" dirty="0">
              <a:solidFill>
                <a:prstClr val="black">
                  <a:lumMod val="75000"/>
                  <a:lumOff val="25000"/>
                </a:prstClr>
              </a:solidFill>
              <a:latin typeface="Calibri" panose="020F0502020204030204"/>
            </a:endParaRPr>
          </a:p>
        </p:txBody>
      </p:sp>
    </p:spTree>
    <p:extLst>
      <p:ext uri="{BB962C8B-B14F-4D97-AF65-F5344CB8AC3E}">
        <p14:creationId xmlns:p14="http://schemas.microsoft.com/office/powerpoint/2010/main" val="5575367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FDFE1-0836-5588-6E07-60ABD60CAD1D}"/>
              </a:ext>
            </a:extLst>
          </p:cNvPr>
          <p:cNvSpPr>
            <a:spLocks noGrp="1"/>
          </p:cNvSpPr>
          <p:nvPr>
            <p:ph type="title"/>
          </p:nvPr>
        </p:nvSpPr>
        <p:spPr>
          <a:xfrm>
            <a:off x="2346960" y="286604"/>
            <a:ext cx="7543800" cy="1450757"/>
          </a:xfrm>
        </p:spPr>
        <p:txBody>
          <a:bodyPr>
            <a:normAutofit/>
          </a:bodyPr>
          <a:lstStyle/>
          <a:p>
            <a:r>
              <a:rPr lang="en-AU" i="1">
                <a:latin typeface="Calibri Light" panose="020F0302020204030204" pitchFamily="34" charset="0"/>
                <a:ea typeface="Calibri Light" panose="020F0302020204030204" pitchFamily="34" charset="0"/>
                <a:cs typeface="Calibri Light" panose="020F0302020204030204" pitchFamily="34" charset="0"/>
              </a:rPr>
              <a:t>An Australian hypothetical</a:t>
            </a:r>
          </a:p>
        </p:txBody>
      </p:sp>
      <p:sp>
        <p:nvSpPr>
          <p:cNvPr id="6" name="Content Placeholder 5">
            <a:extLst>
              <a:ext uri="{FF2B5EF4-FFF2-40B4-BE49-F238E27FC236}">
                <a16:creationId xmlns:a16="http://schemas.microsoft.com/office/drawing/2014/main" id="{8865A8EE-1CF0-2179-F894-FF84C9F6D4C3}"/>
              </a:ext>
            </a:extLst>
          </p:cNvPr>
          <p:cNvSpPr>
            <a:spLocks noGrp="1"/>
          </p:cNvSpPr>
          <p:nvPr>
            <p:ph idx="1"/>
          </p:nvPr>
        </p:nvSpPr>
        <p:spPr>
          <a:xfrm>
            <a:off x="2346959" y="1845734"/>
            <a:ext cx="4841240" cy="4023360"/>
          </a:xfrm>
        </p:spPr>
        <p:txBody>
          <a:bodyPr>
            <a:normAutofit/>
          </a:bodyPr>
          <a:lstStyle/>
          <a:p>
            <a:pPr marL="0" indent="0">
              <a:buNone/>
            </a:pPr>
            <a:endParaRPr lang="en-US" sz="1500">
              <a:latin typeface="Arial" panose="020B0604020202020204" pitchFamily="34" charset="0"/>
              <a:cs typeface="Arial" panose="020B0604020202020204" pitchFamily="34" charset="0"/>
            </a:endParaRPr>
          </a:p>
          <a:p>
            <a:r>
              <a:rPr lang="en-US" sz="1500">
                <a:latin typeface="Calibri" panose="020F0502020204030204" pitchFamily="34" charset="0"/>
                <a:ea typeface="Calibri" panose="020F0502020204030204" pitchFamily="34" charset="0"/>
                <a:cs typeface="Calibri" panose="020F0502020204030204" pitchFamily="34" charset="0"/>
              </a:rPr>
              <a:t>You have a client who owns a library with a large catalogue of old books.  They have been approached by a tech startup that has put to them the following proposal:</a:t>
            </a:r>
          </a:p>
          <a:p>
            <a:endParaRPr lang="en-US" sz="1500">
              <a:latin typeface="Calibri" panose="020F0502020204030204" pitchFamily="34" charset="0"/>
              <a:ea typeface="Calibri" panose="020F0502020204030204" pitchFamily="34" charset="0"/>
              <a:cs typeface="Calibri" panose="020F0502020204030204" pitchFamily="34" charset="0"/>
            </a:endParaRPr>
          </a:p>
          <a:p>
            <a:pPr lvl="1"/>
            <a:r>
              <a:rPr lang="en-US" sz="1500">
                <a:latin typeface="Calibri" panose="020F0502020204030204" pitchFamily="34" charset="0"/>
                <a:ea typeface="Calibri" panose="020F0502020204030204" pitchFamily="34" charset="0"/>
                <a:cs typeface="Calibri" panose="020F0502020204030204" pitchFamily="34" charset="0"/>
              </a:rPr>
              <a:t>the library will allow the tech startup to scan and digitise the entire library.  The tech startup will pay the library $50,000 and will also allow the library to retain the digital copies to use however it wants.  </a:t>
            </a:r>
          </a:p>
          <a:p>
            <a:pPr lvl="1"/>
            <a:endParaRPr lang="en-US" sz="1500">
              <a:latin typeface="Calibri" panose="020F0502020204030204" pitchFamily="34" charset="0"/>
              <a:ea typeface="Calibri" panose="020F0502020204030204" pitchFamily="34" charset="0"/>
              <a:cs typeface="Calibri" panose="020F0502020204030204" pitchFamily="34" charset="0"/>
            </a:endParaRPr>
          </a:p>
          <a:p>
            <a:pPr lvl="1"/>
            <a:r>
              <a:rPr lang="en-US" sz="1500">
                <a:latin typeface="Calibri" panose="020F0502020204030204" pitchFamily="34" charset="0"/>
                <a:ea typeface="Calibri" panose="020F0502020204030204" pitchFamily="34" charset="0"/>
                <a:cs typeface="Calibri" panose="020F0502020204030204" pitchFamily="34" charset="0"/>
              </a:rPr>
              <a:t>in exchange, the tech startup will be entitled use the digital copies to train a new Large Language Model AI system that they are developing, which is intended to be used to write AI produced novels. </a:t>
            </a:r>
          </a:p>
        </p:txBody>
      </p:sp>
      <p:pic>
        <p:nvPicPr>
          <p:cNvPr id="8" name="Picture 7" descr="Books on a shelf">
            <a:extLst>
              <a:ext uri="{FF2B5EF4-FFF2-40B4-BE49-F238E27FC236}">
                <a16:creationId xmlns:a16="http://schemas.microsoft.com/office/drawing/2014/main" id="{B54CD098-84A7-7317-53B2-33E5EE7E483F}"/>
              </a:ext>
            </a:extLst>
          </p:cNvPr>
          <p:cNvPicPr>
            <a:picLocks noChangeAspect="1"/>
          </p:cNvPicPr>
          <p:nvPr/>
        </p:nvPicPr>
        <p:blipFill>
          <a:blip r:embed="rId3"/>
          <a:srcRect l="29145" r="25638"/>
          <a:stretch/>
        </p:blipFill>
        <p:spPr>
          <a:xfrm>
            <a:off x="7539427" y="1916318"/>
            <a:ext cx="2351332" cy="3471012"/>
          </a:xfrm>
          <a:prstGeom prst="rect">
            <a:avLst/>
          </a:prstGeom>
        </p:spPr>
      </p:pic>
      <p:sp>
        <p:nvSpPr>
          <p:cNvPr id="4" name="Slide Number Placeholder 3">
            <a:extLst>
              <a:ext uri="{FF2B5EF4-FFF2-40B4-BE49-F238E27FC236}">
                <a16:creationId xmlns:a16="http://schemas.microsoft.com/office/drawing/2014/main" id="{4CFA46AE-A946-CFE4-69CC-81060B5AC179}"/>
              </a:ext>
            </a:extLst>
          </p:cNvPr>
          <p:cNvSpPr>
            <a:spLocks noGrp="1"/>
          </p:cNvSpPr>
          <p:nvPr>
            <p:ph type="sldNum" sz="quarter" idx="12"/>
          </p:nvPr>
        </p:nvSpPr>
        <p:spPr>
          <a:xfrm flipV="1">
            <a:off x="9887644" y="6824911"/>
            <a:ext cx="45719" cy="45719"/>
          </a:xfrm>
        </p:spPr>
        <p:txBody>
          <a:bodyPr>
            <a:normAutofit fontScale="25000" lnSpcReduction="20000"/>
          </a:bodyPr>
          <a:lstStyle/>
          <a:p>
            <a:pPr defTabSz="457200">
              <a:spcAft>
                <a:spcPts val="600"/>
              </a:spcAft>
            </a:pPr>
            <a:endParaRPr lang="en-AU" dirty="0">
              <a:latin typeface="Calibri" panose="020F0502020204030204"/>
            </a:endParaRPr>
          </a:p>
        </p:txBody>
      </p:sp>
    </p:spTree>
    <p:extLst>
      <p:ext uri="{BB962C8B-B14F-4D97-AF65-F5344CB8AC3E}">
        <p14:creationId xmlns:p14="http://schemas.microsoft.com/office/powerpoint/2010/main" val="32426367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DF2BD-0A79-3A9E-EC27-824ABE1AF034}"/>
              </a:ext>
            </a:extLst>
          </p:cNvPr>
          <p:cNvSpPr>
            <a:spLocks noGrp="1"/>
          </p:cNvSpPr>
          <p:nvPr>
            <p:ph type="title"/>
          </p:nvPr>
        </p:nvSpPr>
        <p:spPr>
          <a:xfrm>
            <a:off x="2346960" y="286604"/>
            <a:ext cx="7543800" cy="1450757"/>
          </a:xfrm>
        </p:spPr>
        <p:txBody>
          <a:bodyPr>
            <a:normAutofit/>
          </a:bodyPr>
          <a:lstStyle/>
          <a:p>
            <a:r>
              <a:rPr lang="en-US" i="1"/>
              <a:t>Advice sought</a:t>
            </a:r>
          </a:p>
        </p:txBody>
      </p:sp>
      <p:pic>
        <p:nvPicPr>
          <p:cNvPr id="6" name="Picture 5" descr="Cluster of books">
            <a:extLst>
              <a:ext uri="{FF2B5EF4-FFF2-40B4-BE49-F238E27FC236}">
                <a16:creationId xmlns:a16="http://schemas.microsoft.com/office/drawing/2014/main" id="{26942FE1-E2EE-7989-16E8-DBA6E0BE5F08}"/>
              </a:ext>
            </a:extLst>
          </p:cNvPr>
          <p:cNvPicPr>
            <a:picLocks noChangeAspect="1"/>
          </p:cNvPicPr>
          <p:nvPr/>
        </p:nvPicPr>
        <p:blipFill>
          <a:blip r:embed="rId2"/>
          <a:srcRect l="30762" r="27107" b="1"/>
          <a:stretch/>
        </p:blipFill>
        <p:spPr>
          <a:xfrm>
            <a:off x="2331325" y="1916318"/>
            <a:ext cx="2321247" cy="3471012"/>
          </a:xfrm>
          <a:prstGeom prst="rect">
            <a:avLst/>
          </a:prstGeom>
        </p:spPr>
      </p:pic>
      <p:sp>
        <p:nvSpPr>
          <p:cNvPr id="3" name="Content Placeholder 2">
            <a:extLst>
              <a:ext uri="{FF2B5EF4-FFF2-40B4-BE49-F238E27FC236}">
                <a16:creationId xmlns:a16="http://schemas.microsoft.com/office/drawing/2014/main" id="{D31E1125-92D0-1319-DF5B-72BE636D5D63}"/>
              </a:ext>
            </a:extLst>
          </p:cNvPr>
          <p:cNvSpPr>
            <a:spLocks noGrp="1"/>
          </p:cNvSpPr>
          <p:nvPr>
            <p:ph idx="1"/>
          </p:nvPr>
        </p:nvSpPr>
        <p:spPr>
          <a:xfrm>
            <a:off x="5003800" y="1845734"/>
            <a:ext cx="4886961" cy="4023360"/>
          </a:xfrm>
        </p:spPr>
        <p:txBody>
          <a:bodyPr>
            <a:normAutofit/>
          </a:bodyPr>
          <a:lstStyle/>
          <a:p>
            <a:r>
              <a:rPr lang="en-US" sz="1700"/>
              <a:t>If the library agrees to the proposal, will it breach copyright by providing the tech startup with access to the books to train their AI model? </a:t>
            </a:r>
          </a:p>
          <a:p>
            <a:endParaRPr lang="en-US" sz="1700"/>
          </a:p>
          <a:p>
            <a:r>
              <a:rPr lang="en-US" sz="1700"/>
              <a:t>Will the tech startup's use of the books to train its model breach copyright? </a:t>
            </a:r>
          </a:p>
          <a:p>
            <a:endParaRPr lang="en-US" sz="1700"/>
          </a:p>
          <a:p>
            <a:r>
              <a:rPr lang="en-US" sz="1700"/>
              <a:t>What if the library told the tech startup that the only books it had provided to the tech startup were old books that were out of copyright but this was untrue and the books provided by the library included books in which copyright still subsisted? </a:t>
            </a:r>
          </a:p>
          <a:p>
            <a:endParaRPr lang="en-US" sz="1700"/>
          </a:p>
        </p:txBody>
      </p:sp>
      <p:sp>
        <p:nvSpPr>
          <p:cNvPr id="4" name="Slide Number Placeholder 3">
            <a:extLst>
              <a:ext uri="{FF2B5EF4-FFF2-40B4-BE49-F238E27FC236}">
                <a16:creationId xmlns:a16="http://schemas.microsoft.com/office/drawing/2014/main" id="{99BDEBC0-19BF-6174-2928-78F3D7E4F920}"/>
              </a:ext>
            </a:extLst>
          </p:cNvPr>
          <p:cNvSpPr>
            <a:spLocks noGrp="1"/>
          </p:cNvSpPr>
          <p:nvPr>
            <p:ph type="sldNum" sz="quarter" idx="12"/>
          </p:nvPr>
        </p:nvSpPr>
        <p:spPr>
          <a:xfrm>
            <a:off x="9820656" y="6757416"/>
            <a:ext cx="112707" cy="67495"/>
          </a:xfrm>
        </p:spPr>
        <p:txBody>
          <a:bodyPr>
            <a:normAutofit fontScale="25000" lnSpcReduction="20000"/>
          </a:bodyPr>
          <a:lstStyle/>
          <a:p>
            <a:pPr defTabSz="457200">
              <a:spcAft>
                <a:spcPts val="600"/>
              </a:spcAft>
            </a:pPr>
            <a:endParaRPr lang="en-AU" dirty="0">
              <a:latin typeface="Calibri" panose="020F0502020204030204"/>
            </a:endParaRPr>
          </a:p>
        </p:txBody>
      </p:sp>
    </p:spTree>
    <p:extLst>
      <p:ext uri="{BB962C8B-B14F-4D97-AF65-F5344CB8AC3E}">
        <p14:creationId xmlns:p14="http://schemas.microsoft.com/office/powerpoint/2010/main" val="612502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6" name="Picture 25" descr="A top view of books with different cover colours">
            <a:extLst>
              <a:ext uri="{FF2B5EF4-FFF2-40B4-BE49-F238E27FC236}">
                <a16:creationId xmlns:a16="http://schemas.microsoft.com/office/drawing/2014/main" id="{05C4A564-B6A5-E760-C226-65A1F14E401A}"/>
              </a:ext>
            </a:extLst>
          </p:cNvPr>
          <p:cNvPicPr>
            <a:picLocks noChangeAspect="1"/>
          </p:cNvPicPr>
          <p:nvPr/>
        </p:nvPicPr>
        <p:blipFill>
          <a:blip r:embed="rId2">
            <a:duotone>
              <a:schemeClr val="bg2">
                <a:shade val="45000"/>
                <a:satMod val="135000"/>
              </a:schemeClr>
              <a:prstClr val="white"/>
            </a:duotone>
            <a:alphaModFix amt="35000"/>
          </a:blip>
          <a:srcRect t="15273" b="9727"/>
          <a:stretch/>
        </p:blipFill>
        <p:spPr>
          <a:xfrm>
            <a:off x="1524020" y="10"/>
            <a:ext cx="9143980" cy="6857990"/>
          </a:xfrm>
          <a:prstGeom prst="rect">
            <a:avLst/>
          </a:prstGeom>
        </p:spPr>
      </p:pic>
      <p:cxnSp>
        <p:nvCxnSpPr>
          <p:cNvPr id="32" name="Straight Connector 31">
            <a:extLst>
              <a:ext uri="{FF2B5EF4-FFF2-40B4-BE49-F238E27FC236}">
                <a16:creationId xmlns:a16="http://schemas.microsoft.com/office/drawing/2014/main" id="{E9F7CBA9-9D9B-479F-AAB5-BF785971CD8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419149" y="1737845"/>
            <a:ext cx="747522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F335253-0871-5802-A547-F93DD5CFE21D}"/>
              </a:ext>
            </a:extLst>
          </p:cNvPr>
          <p:cNvSpPr>
            <a:spLocks noGrp="1"/>
          </p:cNvSpPr>
          <p:nvPr>
            <p:ph type="title"/>
          </p:nvPr>
        </p:nvSpPr>
        <p:spPr>
          <a:xfrm>
            <a:off x="2346960" y="286604"/>
            <a:ext cx="7543800" cy="1450757"/>
          </a:xfrm>
        </p:spPr>
        <p:txBody>
          <a:bodyPr>
            <a:normAutofit/>
          </a:bodyPr>
          <a:lstStyle/>
          <a:p>
            <a:r>
              <a:rPr lang="en-US" i="1"/>
              <a:t>What about outputs?</a:t>
            </a:r>
          </a:p>
        </p:txBody>
      </p:sp>
      <p:sp>
        <p:nvSpPr>
          <p:cNvPr id="3" name="Content Placeholder 2">
            <a:extLst>
              <a:ext uri="{FF2B5EF4-FFF2-40B4-BE49-F238E27FC236}">
                <a16:creationId xmlns:a16="http://schemas.microsoft.com/office/drawing/2014/main" id="{D9924F4B-9E35-0D46-756C-159F0AC80C82}"/>
              </a:ext>
            </a:extLst>
          </p:cNvPr>
          <p:cNvSpPr>
            <a:spLocks noGrp="1"/>
          </p:cNvSpPr>
          <p:nvPr>
            <p:ph idx="1"/>
          </p:nvPr>
        </p:nvSpPr>
        <p:spPr>
          <a:xfrm>
            <a:off x="2346960" y="1845734"/>
            <a:ext cx="7543800" cy="4023360"/>
          </a:xfrm>
        </p:spPr>
        <p:txBody>
          <a:bodyPr>
            <a:normAutofit/>
          </a:bodyPr>
          <a:lstStyle/>
          <a:p>
            <a:r>
              <a:rPr lang="en-US" sz="1700" dirty="0"/>
              <a:t>The Tech Startup completes its training of the AI model using the books provided by the library, including a large volume of books that are still in copyright.  The completed model is launched online, and enables users to generate a new novel, in the style of their favourite author, for $1 per novel. </a:t>
            </a:r>
          </a:p>
          <a:p>
            <a:endParaRPr lang="en-US" sz="1700" dirty="0"/>
          </a:p>
          <a:p>
            <a:r>
              <a:rPr lang="en-US" sz="1700" dirty="0"/>
              <a:t>The model is a great success and makes $5m in its first year.</a:t>
            </a:r>
          </a:p>
          <a:p>
            <a:pPr marL="0" indent="0">
              <a:buNone/>
            </a:pPr>
            <a:endParaRPr lang="en-US" sz="1700" dirty="0"/>
          </a:p>
          <a:p>
            <a:r>
              <a:rPr lang="en-US" sz="1700" dirty="0"/>
              <a:t>You are approached by a well-known author who is upset that a significant number of books have been generated in her "style", for which she has received no payment. </a:t>
            </a:r>
          </a:p>
          <a:p>
            <a:pPr marL="0" indent="0">
              <a:buNone/>
            </a:pPr>
            <a:endParaRPr lang="en-US" sz="1700" dirty="0"/>
          </a:p>
          <a:p>
            <a:r>
              <a:rPr lang="en-US" sz="1700" dirty="0"/>
              <a:t>Does she have a claim against the tech startup that owns the model? </a:t>
            </a:r>
          </a:p>
          <a:p>
            <a:endParaRPr lang="en-US" sz="1700" dirty="0"/>
          </a:p>
          <a:p>
            <a:endParaRPr lang="en-US" sz="1700" dirty="0"/>
          </a:p>
        </p:txBody>
      </p:sp>
      <p:sp>
        <p:nvSpPr>
          <p:cNvPr id="34" name="Rectangle 33">
            <a:extLst>
              <a:ext uri="{FF2B5EF4-FFF2-40B4-BE49-F238E27FC236}">
                <a16:creationId xmlns:a16="http://schemas.microsoft.com/office/drawing/2014/main" id="{154480E5-678B-478F-9170-46502C5FB3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2"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36" name="Rectangle 35">
            <a:extLst>
              <a:ext uri="{FF2B5EF4-FFF2-40B4-BE49-F238E27FC236}">
                <a16:creationId xmlns:a16="http://schemas.microsoft.com/office/drawing/2014/main" id="{B598D875-841B-47A7-B4C8-237DBCE2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B126197F-08BD-5595-21DD-3CBE7467C8A6}"/>
              </a:ext>
            </a:extLst>
          </p:cNvPr>
          <p:cNvSpPr>
            <a:spLocks noGrp="1"/>
          </p:cNvSpPr>
          <p:nvPr>
            <p:ph type="sldNum" sz="quarter" idx="12"/>
          </p:nvPr>
        </p:nvSpPr>
        <p:spPr>
          <a:xfrm>
            <a:off x="8949344" y="6459786"/>
            <a:ext cx="984019" cy="365125"/>
          </a:xfrm>
        </p:spPr>
        <p:txBody>
          <a:bodyPr>
            <a:normAutofit/>
          </a:bodyPr>
          <a:lstStyle/>
          <a:p>
            <a:pPr defTabSz="457200">
              <a:spcAft>
                <a:spcPts val="600"/>
              </a:spcAft>
            </a:pPr>
            <a:endParaRPr lang="en-AU" dirty="0">
              <a:latin typeface="Calibri" panose="020F0502020204030204"/>
            </a:endParaRPr>
          </a:p>
        </p:txBody>
      </p:sp>
    </p:spTree>
    <p:extLst>
      <p:ext uri="{BB962C8B-B14F-4D97-AF65-F5344CB8AC3E}">
        <p14:creationId xmlns:p14="http://schemas.microsoft.com/office/powerpoint/2010/main" val="17120470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5CF81D86-BDBA-477C-B7DD-8D359BB996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63331A09-727A-0CBF-B23C-C7A9F383025C}"/>
              </a:ext>
            </a:extLst>
          </p:cNvPr>
          <p:cNvSpPr>
            <a:spLocks noGrp="1"/>
          </p:cNvSpPr>
          <p:nvPr>
            <p:ph type="title"/>
          </p:nvPr>
        </p:nvSpPr>
        <p:spPr>
          <a:xfrm>
            <a:off x="5255079" y="634947"/>
            <a:ext cx="4931229" cy="1450757"/>
          </a:xfrm>
        </p:spPr>
        <p:txBody>
          <a:bodyPr>
            <a:normAutofit/>
          </a:bodyPr>
          <a:lstStyle/>
          <a:p>
            <a:r>
              <a:rPr lang="en-US" i="1" dirty="0"/>
              <a:t>Advice about outputs</a:t>
            </a:r>
          </a:p>
        </p:txBody>
      </p:sp>
      <p:pic>
        <p:nvPicPr>
          <p:cNvPr id="23" name="Picture 22" descr="Open book">
            <a:extLst>
              <a:ext uri="{FF2B5EF4-FFF2-40B4-BE49-F238E27FC236}">
                <a16:creationId xmlns:a16="http://schemas.microsoft.com/office/drawing/2014/main" id="{72439DB2-E845-4D60-BA12-2797AA4A7331}"/>
              </a:ext>
            </a:extLst>
          </p:cNvPr>
          <p:cNvPicPr>
            <a:picLocks noChangeAspect="1"/>
          </p:cNvPicPr>
          <p:nvPr/>
        </p:nvPicPr>
        <p:blipFill>
          <a:blip r:embed="rId2"/>
          <a:srcRect l="30487" r="31820" b="-1"/>
          <a:stretch/>
        </p:blipFill>
        <p:spPr>
          <a:xfrm>
            <a:off x="1999499" y="640081"/>
            <a:ext cx="3000986" cy="5314406"/>
          </a:xfrm>
          <a:prstGeom prst="rect">
            <a:avLst/>
          </a:prstGeom>
        </p:spPr>
      </p:pic>
      <p:cxnSp>
        <p:nvCxnSpPr>
          <p:cNvPr id="38" name="Straight Connector 37">
            <a:extLst>
              <a:ext uri="{FF2B5EF4-FFF2-40B4-BE49-F238E27FC236}">
                <a16:creationId xmlns:a16="http://schemas.microsoft.com/office/drawing/2014/main" id="{C65F3E9C-EF11-4F8F-A621-399C7A3E64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55077" y="2086188"/>
            <a:ext cx="456732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A3176432-9C28-B6B3-CE73-CF1A392B86BD}"/>
              </a:ext>
            </a:extLst>
          </p:cNvPr>
          <p:cNvSpPr>
            <a:spLocks noGrp="1"/>
          </p:cNvSpPr>
          <p:nvPr>
            <p:ph idx="1"/>
          </p:nvPr>
        </p:nvSpPr>
        <p:spPr>
          <a:xfrm>
            <a:off x="5255076" y="2198914"/>
            <a:ext cx="4931230" cy="3670180"/>
          </a:xfrm>
        </p:spPr>
        <p:txBody>
          <a:bodyPr>
            <a:normAutofit/>
          </a:bodyPr>
          <a:lstStyle/>
          <a:p>
            <a:pPr marL="0" indent="0">
              <a:buNone/>
            </a:pPr>
            <a:endParaRPr lang="en-US" sz="1700"/>
          </a:p>
          <a:p>
            <a:r>
              <a:rPr lang="en-US" sz="1700"/>
              <a:t>An individual pays his $1 to the tech startup and generates a novel.  He is astounded by how compelling and well written it is.  He decides to have it printed and sold in a traditional paper format under his own name.  </a:t>
            </a:r>
          </a:p>
          <a:p>
            <a:endParaRPr lang="en-US" sz="1700"/>
          </a:p>
          <a:p>
            <a:r>
              <a:rPr lang="en-US" sz="1700"/>
              <a:t>does printing and selling the book breach copyright or create any other risks?</a:t>
            </a:r>
          </a:p>
          <a:p>
            <a:pPr marL="0" indent="0">
              <a:buNone/>
            </a:pPr>
            <a:r>
              <a:rPr lang="en-US" sz="1700"/>
              <a:t> </a:t>
            </a:r>
          </a:p>
          <a:p>
            <a:r>
              <a:rPr lang="en-US" sz="1700"/>
              <a:t>can the user stop others from copying and reprinting the book? </a:t>
            </a:r>
          </a:p>
        </p:txBody>
      </p:sp>
      <p:sp>
        <p:nvSpPr>
          <p:cNvPr id="40" name="Rectangle 39">
            <a:extLst>
              <a:ext uri="{FF2B5EF4-FFF2-40B4-BE49-F238E27FC236}">
                <a16:creationId xmlns:a16="http://schemas.microsoft.com/office/drawing/2014/main" id="{88AA064E-5F6E-4024-BC28-EDDC3DFC7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2" y="6334316"/>
            <a:ext cx="9143989"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2" name="Rectangle 41">
            <a:extLst>
              <a:ext uri="{FF2B5EF4-FFF2-40B4-BE49-F238E27FC236}">
                <a16:creationId xmlns:a16="http://schemas.microsoft.com/office/drawing/2014/main" id="{03B29638-4838-4B9B-B9DB-96E542BAF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AU">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7DCA9A0B-2C18-53D6-E549-4CC99D1E7CDD}"/>
              </a:ext>
            </a:extLst>
          </p:cNvPr>
          <p:cNvSpPr>
            <a:spLocks noGrp="1"/>
          </p:cNvSpPr>
          <p:nvPr>
            <p:ph type="sldNum" sz="quarter" idx="12"/>
          </p:nvPr>
        </p:nvSpPr>
        <p:spPr>
          <a:xfrm>
            <a:off x="9822403" y="6714145"/>
            <a:ext cx="110960" cy="110766"/>
          </a:xfrm>
        </p:spPr>
        <p:txBody>
          <a:bodyPr>
            <a:normAutofit fontScale="25000" lnSpcReduction="20000"/>
          </a:bodyPr>
          <a:lstStyle/>
          <a:p>
            <a:pPr defTabSz="457200">
              <a:spcAft>
                <a:spcPts val="600"/>
              </a:spcAft>
            </a:pPr>
            <a:endParaRPr lang="en-AU" dirty="0">
              <a:latin typeface="Calibri" panose="020F0502020204030204"/>
            </a:endParaRPr>
          </a:p>
        </p:txBody>
      </p:sp>
    </p:spTree>
    <p:extLst>
      <p:ext uri="{BB962C8B-B14F-4D97-AF65-F5344CB8AC3E}">
        <p14:creationId xmlns:p14="http://schemas.microsoft.com/office/powerpoint/2010/main" val="35902923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E4490D0-3672-446A-AC12-B4830333BD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6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US">
              <a:solidFill>
                <a:prstClr val="white"/>
              </a:solidFill>
              <a:latin typeface="Calibri" panose="020F0502020204030204"/>
            </a:endParaRPr>
          </a:p>
        </p:txBody>
      </p:sp>
      <p:sp>
        <p:nvSpPr>
          <p:cNvPr id="12" name="Rectangle 11">
            <a:extLst>
              <a:ext uri="{FF2B5EF4-FFF2-40B4-BE49-F238E27FC236}">
                <a16:creationId xmlns:a16="http://schemas.microsoft.com/office/drawing/2014/main" id="{39CB82C2-DF65-4EC1-8280-F201D50F57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US">
              <a:solidFill>
                <a:prstClr val="white"/>
              </a:solidFill>
              <a:latin typeface="Calibri" panose="020F0502020204030204"/>
            </a:endParaRPr>
          </a:p>
        </p:txBody>
      </p:sp>
      <p:cxnSp>
        <p:nvCxnSpPr>
          <p:cNvPr id="14" name="Straight Connector 13">
            <a:extLst>
              <a:ext uri="{FF2B5EF4-FFF2-40B4-BE49-F238E27FC236}">
                <a16:creationId xmlns:a16="http://schemas.microsoft.com/office/drawing/2014/main" id="{7E1D4427-852B-4B37-8E76-0E9F1810BA2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429743"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6" name="Rectangle 15">
            <a:extLst>
              <a:ext uri="{FF2B5EF4-FFF2-40B4-BE49-F238E27FC236}">
                <a16:creationId xmlns:a16="http://schemas.microsoft.com/office/drawing/2014/main" id="{5A1B47C8-47A0-4A88-8830-6DEA3B5DE3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
        <p:nvSpPr>
          <p:cNvPr id="18" name="Rectangle 17">
            <a:extLst>
              <a:ext uri="{FF2B5EF4-FFF2-40B4-BE49-F238E27FC236}">
                <a16:creationId xmlns:a16="http://schemas.microsoft.com/office/drawing/2014/main" id="{984BBFDD-E720-4805-A9C8-129FBBF6DD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7234115" y="0"/>
            <a:ext cx="34385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D8DE6F97-C554-42A6-8D7A-1FD057CFBF2C}"/>
              </a:ext>
            </a:extLst>
          </p:cNvPr>
          <p:cNvSpPr>
            <a:spLocks noGrp="1"/>
          </p:cNvSpPr>
          <p:nvPr>
            <p:ph type="title"/>
          </p:nvPr>
        </p:nvSpPr>
        <p:spPr>
          <a:xfrm>
            <a:off x="7596664" y="640080"/>
            <a:ext cx="2744435" cy="2926080"/>
          </a:xfrm>
        </p:spPr>
        <p:txBody>
          <a:bodyPr vert="horz" lIns="91440" tIns="45720" rIns="91440" bIns="45720" rtlCol="0" anchor="b">
            <a:normAutofit/>
          </a:bodyPr>
          <a:lstStyle/>
          <a:p>
            <a:r>
              <a:rPr lang="en-US" sz="3800">
                <a:solidFill>
                  <a:srgbClr val="FFFFFF"/>
                </a:solidFill>
              </a:rPr>
              <a:t>Thank you</a:t>
            </a:r>
          </a:p>
        </p:txBody>
      </p:sp>
      <p:sp>
        <p:nvSpPr>
          <p:cNvPr id="20" name="Rectangle 19">
            <a:extLst>
              <a:ext uri="{FF2B5EF4-FFF2-40B4-BE49-F238E27FC236}">
                <a16:creationId xmlns:a16="http://schemas.microsoft.com/office/drawing/2014/main" id="{5AC4BE46-4A77-42FE-9D15-065CDB2F84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191679"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457200"/>
            <a:endParaRPr lang="en-US">
              <a:solidFill>
                <a:prstClr val="white"/>
              </a:solidFill>
              <a:latin typeface="Calibri" panose="020F0502020204030204"/>
            </a:endParaRPr>
          </a:p>
        </p:txBody>
      </p:sp>
      <p:pic>
        <p:nvPicPr>
          <p:cNvPr id="3" name="Picture 2">
            <a:extLst>
              <a:ext uri="{FF2B5EF4-FFF2-40B4-BE49-F238E27FC236}">
                <a16:creationId xmlns:a16="http://schemas.microsoft.com/office/drawing/2014/main" id="{7DFEBF5E-C887-92FF-3730-52C79E3CE5D4}"/>
              </a:ext>
            </a:extLst>
          </p:cNvPr>
          <p:cNvPicPr>
            <a:picLocks noChangeAspect="1"/>
          </p:cNvPicPr>
          <p:nvPr/>
        </p:nvPicPr>
        <p:blipFill>
          <a:blip r:embed="rId2"/>
          <a:stretch>
            <a:fillRect/>
          </a:stretch>
        </p:blipFill>
        <p:spPr>
          <a:xfrm>
            <a:off x="2583315" y="1128816"/>
            <a:ext cx="4450898" cy="2914547"/>
          </a:xfrm>
          <a:prstGeom prst="rect">
            <a:avLst/>
          </a:prstGeom>
        </p:spPr>
      </p:pic>
      <p:sp>
        <p:nvSpPr>
          <p:cNvPr id="17" name="Content Placeholder 16">
            <a:extLst>
              <a:ext uri="{FF2B5EF4-FFF2-40B4-BE49-F238E27FC236}">
                <a16:creationId xmlns:a16="http://schemas.microsoft.com/office/drawing/2014/main" id="{E916D4C0-C8FC-E23A-DD1D-13718693ABBE}"/>
              </a:ext>
            </a:extLst>
          </p:cNvPr>
          <p:cNvSpPr>
            <a:spLocks noGrp="1"/>
          </p:cNvSpPr>
          <p:nvPr>
            <p:ph idx="1"/>
          </p:nvPr>
        </p:nvSpPr>
        <p:spPr/>
        <p:txBody>
          <a:bodyPr/>
          <a:lstStyle/>
          <a:p>
            <a:endParaRPr lang="en-AU" dirty="0"/>
          </a:p>
        </p:txBody>
      </p:sp>
    </p:spTree>
    <p:extLst>
      <p:ext uri="{BB962C8B-B14F-4D97-AF65-F5344CB8AC3E}">
        <p14:creationId xmlns:p14="http://schemas.microsoft.com/office/powerpoint/2010/main" val="642732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F6C6E7D-09B2-FF8B-6251-446CC34555F6}"/>
              </a:ext>
            </a:extLst>
          </p:cNvPr>
          <p:cNvGraphicFramePr>
            <a:graphicFrameLocks noChangeAspect="1"/>
          </p:cNvGraphicFramePr>
          <p:nvPr>
            <p:custDataLst>
              <p:tags r:id="rId1"/>
            </p:custDataLst>
            <p:extLst>
              <p:ext uri="{D42A27DB-BD31-4B8C-83A1-F6EECF244321}">
                <p14:modId xmlns:p14="http://schemas.microsoft.com/office/powerpoint/2010/main" val="32596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3F6C6E7D-09B2-FF8B-6251-446CC34555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332423-C045-25B5-EA13-DE53DCF91939}"/>
              </a:ext>
            </a:extLst>
          </p:cNvPr>
          <p:cNvSpPr>
            <a:spLocks noGrp="1"/>
          </p:cNvSpPr>
          <p:nvPr>
            <p:ph type="title"/>
          </p:nvPr>
        </p:nvSpPr>
        <p:spPr>
          <a:xfrm>
            <a:off x="838200" y="136525"/>
            <a:ext cx="10515600" cy="1325563"/>
          </a:xfrm>
        </p:spPr>
        <p:txBody>
          <a:bodyPr vert="horz">
            <a:normAutofit/>
          </a:bodyPr>
          <a:lstStyle/>
          <a:p>
            <a:pPr marL="342900" lvl="0" indent="-342900">
              <a:tabLst>
                <a:tab pos="457200" algn="l"/>
              </a:tabLst>
            </a:pPr>
            <a:r>
              <a:rPr lang="en-AU" dirty="0">
                <a:solidFill>
                  <a:srgbClr val="000000"/>
                </a:solidFill>
                <a:effectLst/>
                <a:latin typeface="Calibri" panose="020F0502020204030204" pitchFamily="34" charset="0"/>
                <a:ea typeface="Times New Roman" panose="02020603050405020304" pitchFamily="18" charset="0"/>
              </a:rPr>
              <a:t>Possible lega</a:t>
            </a:r>
            <a:r>
              <a:rPr lang="en-AU" dirty="0">
                <a:solidFill>
                  <a:srgbClr val="000000"/>
                </a:solidFill>
                <a:latin typeface="Calibri" panose="020F0502020204030204" pitchFamily="34" charset="0"/>
                <a:ea typeface="Times New Roman" panose="02020603050405020304" pitchFamily="18" charset="0"/>
              </a:rPr>
              <a:t>l </a:t>
            </a:r>
            <a:r>
              <a:rPr lang="en-AU" dirty="0">
                <a:solidFill>
                  <a:srgbClr val="000000"/>
                </a:solidFill>
                <a:effectLst/>
                <a:latin typeface="Calibri" panose="020F0502020204030204" pitchFamily="34" charset="0"/>
                <a:ea typeface="Times New Roman" panose="02020603050405020304" pitchFamily="18" charset="0"/>
              </a:rPr>
              <a:t>use cases for advanced AI tools</a:t>
            </a:r>
            <a:endParaRPr lang="en-AU" dirty="0"/>
          </a:p>
        </p:txBody>
      </p:sp>
      <p:sp>
        <p:nvSpPr>
          <p:cNvPr id="3" name="Content Placeholder 2">
            <a:extLst>
              <a:ext uri="{FF2B5EF4-FFF2-40B4-BE49-F238E27FC236}">
                <a16:creationId xmlns:a16="http://schemas.microsoft.com/office/drawing/2014/main" id="{DE243467-5AD0-0F7D-A2B9-B78B18CD8563}"/>
              </a:ext>
            </a:extLst>
          </p:cNvPr>
          <p:cNvSpPr>
            <a:spLocks noGrp="1"/>
          </p:cNvSpPr>
          <p:nvPr>
            <p:ph idx="1"/>
          </p:nvPr>
        </p:nvSpPr>
        <p:spPr>
          <a:xfrm>
            <a:off x="838200" y="1259840"/>
            <a:ext cx="10515600" cy="5096510"/>
          </a:xfrm>
        </p:spPr>
        <p:txBody>
          <a:bodyPr>
            <a:normAutofit fontScale="92500" lnSpcReduction="10000"/>
          </a:bodyPr>
          <a:lstStyle/>
          <a:p>
            <a:r>
              <a:rPr lang="en-AU" dirty="0"/>
              <a:t>Research</a:t>
            </a:r>
          </a:p>
          <a:p>
            <a:pPr lvl="1"/>
            <a:r>
              <a:rPr lang="en-AU" dirty="0"/>
              <a:t>Legal research</a:t>
            </a:r>
          </a:p>
          <a:p>
            <a:pPr lvl="1"/>
            <a:r>
              <a:rPr lang="en-AU" dirty="0"/>
              <a:t>Summarise cases / generate headnotes</a:t>
            </a:r>
          </a:p>
          <a:p>
            <a:pPr lvl="1"/>
            <a:r>
              <a:rPr lang="en-AU" dirty="0"/>
              <a:t>Suggest lines of inquiry</a:t>
            </a:r>
          </a:p>
          <a:p>
            <a:r>
              <a:rPr lang="en-AU" dirty="0"/>
              <a:t>General</a:t>
            </a:r>
          </a:p>
          <a:p>
            <a:pPr lvl="1"/>
            <a:r>
              <a:rPr lang="en-AU" dirty="0"/>
              <a:t>Summarise client conferences (</a:t>
            </a:r>
            <a:r>
              <a:rPr lang="en-AU" dirty="0" err="1"/>
              <a:t>eg</a:t>
            </a:r>
            <a:r>
              <a:rPr lang="en-AU" dirty="0"/>
              <a:t> Teams auto transcript/summary)</a:t>
            </a:r>
          </a:p>
          <a:p>
            <a:pPr lvl="1"/>
            <a:r>
              <a:rPr lang="en-AU" dirty="0"/>
              <a:t>Automate client onboarding / client questionnaires</a:t>
            </a:r>
          </a:p>
          <a:p>
            <a:pPr lvl="1"/>
            <a:r>
              <a:rPr lang="en-AU" dirty="0"/>
              <a:t>Summarise matter files / chat with matter</a:t>
            </a:r>
          </a:p>
          <a:p>
            <a:r>
              <a:rPr lang="en-AU" dirty="0"/>
              <a:t>Discovery/forensic</a:t>
            </a:r>
          </a:p>
          <a:p>
            <a:pPr lvl="1"/>
            <a:r>
              <a:rPr lang="en-AU" dirty="0"/>
              <a:t>Summarise/analyse evidence</a:t>
            </a:r>
          </a:p>
          <a:p>
            <a:pPr lvl="1"/>
            <a:r>
              <a:rPr lang="en-AU" dirty="0"/>
              <a:t>Timeline generation</a:t>
            </a:r>
          </a:p>
          <a:p>
            <a:pPr lvl="1"/>
            <a:r>
              <a:rPr lang="en-AU" dirty="0"/>
              <a:t>Identify contradictions / gaps in evidence</a:t>
            </a:r>
          </a:p>
          <a:p>
            <a:pPr lvl="1"/>
            <a:r>
              <a:rPr lang="en-AU" dirty="0"/>
              <a:t>Automate LPP / relevance review</a:t>
            </a:r>
          </a:p>
          <a:p>
            <a:pPr lvl="1"/>
            <a:r>
              <a:rPr lang="en-AU" dirty="0"/>
              <a:t>Network analysis</a:t>
            </a:r>
          </a:p>
          <a:p>
            <a:endParaRPr lang="en-AU" dirty="0"/>
          </a:p>
        </p:txBody>
      </p:sp>
      <p:sp>
        <p:nvSpPr>
          <p:cNvPr id="4" name="Slide Number Placeholder 3">
            <a:extLst>
              <a:ext uri="{FF2B5EF4-FFF2-40B4-BE49-F238E27FC236}">
                <a16:creationId xmlns:a16="http://schemas.microsoft.com/office/drawing/2014/main" id="{31FD8E6B-85A0-29BB-8928-218522D9C669}"/>
              </a:ext>
            </a:extLst>
          </p:cNvPr>
          <p:cNvSpPr>
            <a:spLocks noGrp="1"/>
          </p:cNvSpPr>
          <p:nvPr>
            <p:ph type="sldNum" sz="quarter" idx="12"/>
          </p:nvPr>
        </p:nvSpPr>
        <p:spPr/>
        <p:txBody>
          <a:bodyPr/>
          <a:lstStyle/>
          <a:p>
            <a:fld id="{03F39873-4EE6-4357-A001-6C17E9D52876}" type="slidenum">
              <a:rPr lang="en-AU" smtClean="0"/>
              <a:pPr/>
              <a:t>5</a:t>
            </a:fld>
            <a:endParaRPr lang="en-AU"/>
          </a:p>
        </p:txBody>
      </p:sp>
    </p:spTree>
    <p:extLst>
      <p:ext uri="{BB962C8B-B14F-4D97-AF65-F5344CB8AC3E}">
        <p14:creationId xmlns:p14="http://schemas.microsoft.com/office/powerpoint/2010/main" val="172092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E50A10-B3F7-C1F3-B4DC-F79A4DA8D819}"/>
              </a:ext>
            </a:extLst>
          </p:cNvPr>
          <p:cNvGraphicFramePr>
            <a:graphicFrameLocks noChangeAspect="1"/>
          </p:cNvGraphicFramePr>
          <p:nvPr>
            <p:custDataLst>
              <p:tags r:id="rId1"/>
            </p:custDataLst>
            <p:extLst>
              <p:ext uri="{D42A27DB-BD31-4B8C-83A1-F6EECF244321}">
                <p14:modId xmlns:p14="http://schemas.microsoft.com/office/powerpoint/2010/main" val="12325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FCE50A10-B3F7-C1F3-B4DC-F79A4DA8D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FE4A7F-90B6-3D26-6E74-8C0B851FFDED}"/>
              </a:ext>
            </a:extLst>
          </p:cNvPr>
          <p:cNvSpPr>
            <a:spLocks noGrp="1"/>
          </p:cNvSpPr>
          <p:nvPr>
            <p:ph type="title"/>
          </p:nvPr>
        </p:nvSpPr>
        <p:spPr/>
        <p:txBody>
          <a:bodyPr vert="horz"/>
          <a:lstStyle/>
          <a:p>
            <a:r>
              <a:rPr lang="en-AU" dirty="0">
                <a:solidFill>
                  <a:srgbClr val="000000"/>
                </a:solidFill>
                <a:effectLst/>
                <a:latin typeface="Calibri" panose="020F0502020204030204" pitchFamily="34" charset="0"/>
                <a:ea typeface="Times New Roman" panose="02020603050405020304" pitchFamily="18" charset="0"/>
              </a:rPr>
              <a:t>What’s under the hood? – RAG example</a:t>
            </a:r>
            <a:endParaRPr lang="en-AU" dirty="0"/>
          </a:p>
        </p:txBody>
      </p:sp>
      <p:pic>
        <p:nvPicPr>
          <p:cNvPr id="6" name="Content Placeholder 5">
            <a:extLst>
              <a:ext uri="{FF2B5EF4-FFF2-40B4-BE49-F238E27FC236}">
                <a16:creationId xmlns:a16="http://schemas.microsoft.com/office/drawing/2014/main" id="{F985AFC6-7F9F-F9DD-4EF3-59A90A900FA1}"/>
              </a:ext>
            </a:extLst>
          </p:cNvPr>
          <p:cNvPicPr>
            <a:picLocks noGrp="1" noChangeAspect="1"/>
          </p:cNvPicPr>
          <p:nvPr>
            <p:ph idx="1"/>
          </p:nvPr>
        </p:nvPicPr>
        <p:blipFill>
          <a:blip r:embed="rId5"/>
          <a:stretch>
            <a:fillRect/>
          </a:stretch>
        </p:blipFill>
        <p:spPr>
          <a:xfrm>
            <a:off x="2142031" y="1690688"/>
            <a:ext cx="7840169" cy="3801005"/>
          </a:xfrm>
        </p:spPr>
      </p:pic>
      <p:sp>
        <p:nvSpPr>
          <p:cNvPr id="4" name="Slide Number Placeholder 3">
            <a:extLst>
              <a:ext uri="{FF2B5EF4-FFF2-40B4-BE49-F238E27FC236}">
                <a16:creationId xmlns:a16="http://schemas.microsoft.com/office/drawing/2014/main" id="{B1A0306F-B5F4-9748-7DE5-05320CD3D18B}"/>
              </a:ext>
            </a:extLst>
          </p:cNvPr>
          <p:cNvSpPr>
            <a:spLocks noGrp="1"/>
          </p:cNvSpPr>
          <p:nvPr>
            <p:ph type="sldNum" sz="quarter" idx="12"/>
          </p:nvPr>
        </p:nvSpPr>
        <p:spPr/>
        <p:txBody>
          <a:bodyPr/>
          <a:lstStyle/>
          <a:p>
            <a:fld id="{03F39873-4EE6-4357-A001-6C17E9D52876}" type="slidenum">
              <a:rPr lang="en-AU" smtClean="0"/>
              <a:pPr/>
              <a:t>6</a:t>
            </a:fld>
            <a:endParaRPr lang="en-AU"/>
          </a:p>
        </p:txBody>
      </p:sp>
      <p:sp>
        <p:nvSpPr>
          <p:cNvPr id="7" name="TextBox 6">
            <a:extLst>
              <a:ext uri="{FF2B5EF4-FFF2-40B4-BE49-F238E27FC236}">
                <a16:creationId xmlns:a16="http://schemas.microsoft.com/office/drawing/2014/main" id="{4843F39D-F91F-296A-A8C4-8C9B6FB8D24B}"/>
              </a:ext>
            </a:extLst>
          </p:cNvPr>
          <p:cNvSpPr txBox="1"/>
          <p:nvPr/>
        </p:nvSpPr>
        <p:spPr>
          <a:xfrm>
            <a:off x="142009" y="5491693"/>
            <a:ext cx="12049991" cy="954107"/>
          </a:xfrm>
          <a:prstGeom prst="rect">
            <a:avLst/>
          </a:prstGeom>
          <a:noFill/>
        </p:spPr>
        <p:txBody>
          <a:bodyPr wrap="square" rtlCol="0">
            <a:spAutoFit/>
          </a:bodyPr>
          <a:lstStyle/>
          <a:p>
            <a:r>
              <a:rPr lang="en-US" sz="1400" dirty="0"/>
              <a:t>Schematic diagram of a retrieval-augmented generation (RAG) system. Given a user query (left), the typical process consists of two steps: (1) retrieval (middle), where the query is embedded with natural language processing and a retrieval system takes embeddings and retrieves the relevant documents (e.g., Supreme Court cases); and (2) generation (right), where the retrieved texts are fed to the language model to generate the response to the user query. Any of the subsidiary steps may introduce error and hallucinations into the generated response. (Icons are credited to </a:t>
            </a:r>
            <a:r>
              <a:rPr lang="en-US" sz="1400" dirty="0" err="1"/>
              <a:t>FlatIcon</a:t>
            </a:r>
            <a:r>
              <a:rPr lang="en-US" sz="1400" dirty="0"/>
              <a:t>.)</a:t>
            </a:r>
            <a:endParaRPr lang="en-AU" sz="1400" dirty="0"/>
          </a:p>
        </p:txBody>
      </p:sp>
    </p:spTree>
    <p:extLst>
      <p:ext uri="{BB962C8B-B14F-4D97-AF65-F5344CB8AC3E}">
        <p14:creationId xmlns:p14="http://schemas.microsoft.com/office/powerpoint/2010/main" val="2731212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685617E-D4FD-947D-424F-F1CE6EA494D6}"/>
              </a:ext>
            </a:extLst>
          </p:cNvPr>
          <p:cNvGraphicFramePr>
            <a:graphicFrameLocks noChangeAspect="1"/>
          </p:cNvGraphicFramePr>
          <p:nvPr>
            <p:custDataLst>
              <p:tags r:id="rId1"/>
            </p:custDataLst>
            <p:extLst>
              <p:ext uri="{D42A27DB-BD31-4B8C-83A1-F6EECF244321}">
                <p14:modId xmlns:p14="http://schemas.microsoft.com/office/powerpoint/2010/main" val="2731129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D685617E-D4FD-947D-424F-F1CE6EA494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21EEA5-E84E-D7D0-008D-6231DAE7B015}"/>
              </a:ext>
            </a:extLst>
          </p:cNvPr>
          <p:cNvSpPr>
            <a:spLocks noGrp="1"/>
          </p:cNvSpPr>
          <p:nvPr>
            <p:ph type="title"/>
          </p:nvPr>
        </p:nvSpPr>
        <p:spPr>
          <a:xfrm>
            <a:off x="838199" y="365125"/>
            <a:ext cx="10733955" cy="1325563"/>
          </a:xfrm>
        </p:spPr>
        <p:txBody>
          <a:bodyPr vert="horz"/>
          <a:lstStyle/>
          <a:p>
            <a:r>
              <a:rPr lang="en-AU" dirty="0">
                <a:solidFill>
                  <a:srgbClr val="000000"/>
                </a:solidFill>
                <a:effectLst/>
                <a:latin typeface="Calibri" panose="020F0502020204030204" pitchFamily="34" charset="0"/>
                <a:ea typeface="Times New Roman" panose="02020603050405020304" pitchFamily="18" charset="0"/>
              </a:rPr>
              <a:t>Challenges with large language models (LLMs)</a:t>
            </a:r>
            <a:endParaRPr lang="en-AU" dirty="0"/>
          </a:p>
        </p:txBody>
      </p:sp>
      <p:sp>
        <p:nvSpPr>
          <p:cNvPr id="3" name="Content Placeholder 2">
            <a:extLst>
              <a:ext uri="{FF2B5EF4-FFF2-40B4-BE49-F238E27FC236}">
                <a16:creationId xmlns:a16="http://schemas.microsoft.com/office/drawing/2014/main" id="{8B4B0027-4143-0714-8FE8-CC82A8A4E7F1}"/>
              </a:ext>
            </a:extLst>
          </p:cNvPr>
          <p:cNvSpPr>
            <a:spLocks noGrp="1"/>
          </p:cNvSpPr>
          <p:nvPr>
            <p:ph idx="1"/>
          </p:nvPr>
        </p:nvSpPr>
        <p:spPr>
          <a:xfrm>
            <a:off x="838200" y="2297525"/>
            <a:ext cx="10515600" cy="3879437"/>
          </a:xfrm>
        </p:spPr>
        <p:txBody>
          <a:bodyPr/>
          <a:lstStyle/>
          <a:p>
            <a:r>
              <a:rPr lang="en-AU" dirty="0"/>
              <a:t>Accuracy</a:t>
            </a:r>
          </a:p>
          <a:p>
            <a:r>
              <a:rPr lang="en-AU" dirty="0"/>
              <a:t>Bias</a:t>
            </a:r>
          </a:p>
          <a:p>
            <a:r>
              <a:rPr lang="en-AU" dirty="0"/>
              <a:t>Intellectual property</a:t>
            </a:r>
          </a:p>
          <a:p>
            <a:r>
              <a:rPr lang="en-AU" dirty="0"/>
              <a:t>Privacy and data security</a:t>
            </a:r>
          </a:p>
          <a:p>
            <a:r>
              <a:rPr lang="en-AU" dirty="0"/>
              <a:t>De-skilling / motivation?</a:t>
            </a:r>
          </a:p>
          <a:p>
            <a:endParaRPr lang="en-AU" dirty="0"/>
          </a:p>
        </p:txBody>
      </p:sp>
      <p:sp>
        <p:nvSpPr>
          <p:cNvPr id="4" name="Slide Number Placeholder 3">
            <a:extLst>
              <a:ext uri="{FF2B5EF4-FFF2-40B4-BE49-F238E27FC236}">
                <a16:creationId xmlns:a16="http://schemas.microsoft.com/office/drawing/2014/main" id="{F9353D78-49AF-F8EF-1416-4C0AD6473D1D}"/>
              </a:ext>
            </a:extLst>
          </p:cNvPr>
          <p:cNvSpPr>
            <a:spLocks noGrp="1"/>
          </p:cNvSpPr>
          <p:nvPr>
            <p:ph type="sldNum" sz="quarter" idx="12"/>
          </p:nvPr>
        </p:nvSpPr>
        <p:spPr/>
        <p:txBody>
          <a:bodyPr/>
          <a:lstStyle/>
          <a:p>
            <a:fld id="{03F39873-4EE6-4357-A001-6C17E9D52876}" type="slidenum">
              <a:rPr lang="en-AU" smtClean="0"/>
              <a:pPr/>
              <a:t>7</a:t>
            </a:fld>
            <a:endParaRPr lang="en-AU"/>
          </a:p>
        </p:txBody>
      </p:sp>
    </p:spTree>
    <p:extLst>
      <p:ext uri="{BB962C8B-B14F-4D97-AF65-F5344CB8AC3E}">
        <p14:creationId xmlns:p14="http://schemas.microsoft.com/office/powerpoint/2010/main" val="23069164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699F5-AC01-6CC7-A118-036C29DDE703}"/>
              </a:ext>
            </a:extLst>
          </p:cNvPr>
          <p:cNvSpPr>
            <a:spLocks noGrp="1"/>
          </p:cNvSpPr>
          <p:nvPr>
            <p:ph type="title"/>
          </p:nvPr>
        </p:nvSpPr>
        <p:spPr/>
        <p:txBody>
          <a:bodyPr>
            <a:normAutofit/>
          </a:bodyPr>
          <a:lstStyle/>
          <a:p>
            <a:pPr marL="342900" lvl="0" indent="-342900">
              <a:tabLst>
                <a:tab pos="457200" algn="l"/>
              </a:tabLst>
            </a:pPr>
            <a:r>
              <a:rPr lang="en-AU" dirty="0">
                <a:solidFill>
                  <a:srgbClr val="000000"/>
                </a:solidFill>
                <a:effectLst/>
                <a:latin typeface="Calibri" panose="020F0502020204030204" pitchFamily="34" charset="0"/>
                <a:ea typeface="Times New Roman" panose="02020603050405020304" pitchFamily="18" charset="0"/>
              </a:rPr>
              <a:t>Accuracy</a:t>
            </a:r>
            <a:endParaRPr lang="en-AU" dirty="0"/>
          </a:p>
        </p:txBody>
      </p:sp>
      <p:sp>
        <p:nvSpPr>
          <p:cNvPr id="4" name="Slide Number Placeholder 3">
            <a:extLst>
              <a:ext uri="{FF2B5EF4-FFF2-40B4-BE49-F238E27FC236}">
                <a16:creationId xmlns:a16="http://schemas.microsoft.com/office/drawing/2014/main" id="{27294FC5-3B74-7C01-B2BA-40ECD8FB6292}"/>
              </a:ext>
            </a:extLst>
          </p:cNvPr>
          <p:cNvSpPr>
            <a:spLocks noGrp="1"/>
          </p:cNvSpPr>
          <p:nvPr>
            <p:ph type="sldNum" sz="quarter" idx="12"/>
          </p:nvPr>
        </p:nvSpPr>
        <p:spPr/>
        <p:txBody>
          <a:bodyPr/>
          <a:lstStyle/>
          <a:p>
            <a:fld id="{03F39873-4EE6-4357-A001-6C17E9D52876}" type="slidenum">
              <a:rPr lang="en-AU" smtClean="0"/>
              <a:pPr/>
              <a:t>8</a:t>
            </a:fld>
            <a:endParaRPr lang="en-AU"/>
          </a:p>
        </p:txBody>
      </p:sp>
      <p:graphicFrame>
        <p:nvGraphicFramePr>
          <p:cNvPr id="5" name="Content Placeholder 4">
            <a:extLst>
              <a:ext uri="{FF2B5EF4-FFF2-40B4-BE49-F238E27FC236}">
                <a16:creationId xmlns:a16="http://schemas.microsoft.com/office/drawing/2014/main" id="{8E920F6F-DA3B-E195-C5EF-B2C30FE03B54}"/>
              </a:ext>
            </a:extLst>
          </p:cNvPr>
          <p:cNvGraphicFramePr>
            <a:graphicFrameLocks noGrp="1"/>
          </p:cNvGraphicFramePr>
          <p:nvPr>
            <p:ph idx="1"/>
            <p:extLst>
              <p:ext uri="{D42A27DB-BD31-4B8C-83A1-F6EECF244321}">
                <p14:modId xmlns:p14="http://schemas.microsoft.com/office/powerpoint/2010/main" val="82358266"/>
              </p:ext>
            </p:extLst>
          </p:nvPr>
        </p:nvGraphicFramePr>
        <p:xfrm>
          <a:off x="838200" y="146388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D813C67F-E4D5-0F8A-9953-33C4D07C7DB0}"/>
              </a:ext>
            </a:extLst>
          </p:cNvPr>
          <p:cNvSpPr txBox="1"/>
          <p:nvPr/>
        </p:nvSpPr>
        <p:spPr>
          <a:xfrm>
            <a:off x="472272" y="5815223"/>
            <a:ext cx="11887200" cy="369332"/>
          </a:xfrm>
          <a:prstGeom prst="rect">
            <a:avLst/>
          </a:prstGeom>
          <a:noFill/>
        </p:spPr>
        <p:txBody>
          <a:bodyPr wrap="square" rtlCol="0">
            <a:spAutoFit/>
          </a:bodyPr>
          <a:lstStyle/>
          <a:p>
            <a:r>
              <a:rPr lang="en-AU" dirty="0"/>
              <a:t>Magesh et al., “</a:t>
            </a:r>
            <a:r>
              <a:rPr lang="en-US" dirty="0"/>
              <a:t>Hallucination-Free? Assessing the Reliability of Leading AI Legal Research Tools”, forthcoming</a:t>
            </a:r>
            <a:r>
              <a:rPr lang="en-AU" dirty="0"/>
              <a:t> </a:t>
            </a:r>
          </a:p>
        </p:txBody>
      </p:sp>
    </p:spTree>
    <p:extLst>
      <p:ext uri="{BB962C8B-B14F-4D97-AF65-F5344CB8AC3E}">
        <p14:creationId xmlns:p14="http://schemas.microsoft.com/office/powerpoint/2010/main" val="899901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736F443-4448-93BB-8896-27C0305480C8}"/>
              </a:ext>
            </a:extLst>
          </p:cNvPr>
          <p:cNvSpPr>
            <a:spLocks noGrp="1"/>
          </p:cNvSpPr>
          <p:nvPr>
            <p:ph type="sldNum" sz="quarter" idx="12"/>
          </p:nvPr>
        </p:nvSpPr>
        <p:spPr/>
        <p:txBody>
          <a:bodyPr/>
          <a:lstStyle/>
          <a:p>
            <a:fld id="{03F39873-4EE6-4357-A001-6C17E9D52876}" type="slidenum">
              <a:rPr lang="en-AU" smtClean="0"/>
              <a:pPr/>
              <a:t>9</a:t>
            </a:fld>
            <a:endParaRPr lang="en-AU"/>
          </a:p>
        </p:txBody>
      </p:sp>
      <p:pic>
        <p:nvPicPr>
          <p:cNvPr id="8" name="Picture 7">
            <a:extLst>
              <a:ext uri="{FF2B5EF4-FFF2-40B4-BE49-F238E27FC236}">
                <a16:creationId xmlns:a16="http://schemas.microsoft.com/office/drawing/2014/main" id="{79A47058-6076-4453-E85F-C8E77A3BADC3}"/>
              </a:ext>
            </a:extLst>
          </p:cNvPr>
          <p:cNvPicPr>
            <a:picLocks noChangeAspect="1"/>
          </p:cNvPicPr>
          <p:nvPr/>
        </p:nvPicPr>
        <p:blipFill>
          <a:blip r:embed="rId2"/>
          <a:stretch>
            <a:fillRect/>
          </a:stretch>
        </p:blipFill>
        <p:spPr>
          <a:xfrm>
            <a:off x="1884820" y="1095270"/>
            <a:ext cx="8097380" cy="4467849"/>
          </a:xfrm>
          <a:prstGeom prst="rect">
            <a:avLst/>
          </a:prstGeom>
        </p:spPr>
      </p:pic>
      <p:sp>
        <p:nvSpPr>
          <p:cNvPr id="12" name="Speech Bubble: Rectangle with Corners Rounded 11">
            <a:extLst>
              <a:ext uri="{FF2B5EF4-FFF2-40B4-BE49-F238E27FC236}">
                <a16:creationId xmlns:a16="http://schemas.microsoft.com/office/drawing/2014/main" id="{48C32F00-76FB-1688-DCD4-E76B7669C81B}"/>
              </a:ext>
            </a:extLst>
          </p:cNvPr>
          <p:cNvSpPr/>
          <p:nvPr/>
        </p:nvSpPr>
        <p:spPr>
          <a:xfrm>
            <a:off x="120580" y="130629"/>
            <a:ext cx="5740957" cy="703384"/>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The system makes up a statement in the Federal Rules of Bankruptcy Procedure that does not exist.</a:t>
            </a:r>
            <a:endParaRPr lang="en-AU" sz="1400" b="0" i="0" dirty="0">
              <a:solidFill>
                <a:schemeClr val="bg1"/>
              </a:solidFill>
              <a:effectLst/>
              <a:latin typeface="tahoma" panose="020B0604030504040204" pitchFamily="34" charset="0"/>
            </a:endParaRPr>
          </a:p>
        </p:txBody>
      </p:sp>
      <p:sp>
        <p:nvSpPr>
          <p:cNvPr id="15" name="Speech Bubble: Rectangle with Corners Rounded 14">
            <a:extLst>
              <a:ext uri="{FF2B5EF4-FFF2-40B4-BE49-F238E27FC236}">
                <a16:creationId xmlns:a16="http://schemas.microsoft.com/office/drawing/2014/main" id="{490DB717-8992-4BBA-E7B6-CC42DB21357D}"/>
              </a:ext>
            </a:extLst>
          </p:cNvPr>
          <p:cNvSpPr/>
          <p:nvPr/>
        </p:nvSpPr>
        <p:spPr>
          <a:xfrm>
            <a:off x="120580" y="5563119"/>
            <a:ext cx="5817995" cy="793231"/>
          </a:xfrm>
          <a:prstGeom prst="wedgeRoundRectCallout">
            <a:avLst>
              <a:gd name="adj1" fmla="val -14300"/>
              <a:gd name="adj2" fmla="val -6422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The system fails to correct the user’s mistaken premise—in reality, Justice Ginsburg joined the Court’s landmark decision legalizing same-sex marriage—and instead provides additional false information about the case. </a:t>
            </a:r>
            <a:endParaRPr lang="en-AU" sz="1400" dirty="0"/>
          </a:p>
        </p:txBody>
      </p:sp>
      <p:sp>
        <p:nvSpPr>
          <p:cNvPr id="16" name="Speech Bubble: Rectangle with Corners Rounded 15">
            <a:extLst>
              <a:ext uri="{FF2B5EF4-FFF2-40B4-BE49-F238E27FC236}">
                <a16:creationId xmlns:a16="http://schemas.microsoft.com/office/drawing/2014/main" id="{08FFC94E-3D94-AFBC-48B0-0E1B38E8CB3B}"/>
              </a:ext>
            </a:extLst>
          </p:cNvPr>
          <p:cNvSpPr/>
          <p:nvPr/>
        </p:nvSpPr>
        <p:spPr>
          <a:xfrm>
            <a:off x="8644931" y="5622776"/>
            <a:ext cx="3426488" cy="773723"/>
          </a:xfrm>
          <a:prstGeom prst="wedgeRoundRectCallout">
            <a:avLst>
              <a:gd name="adj1" fmla="val -27577"/>
              <a:gd name="adj2" fmla="val -6507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Example of a hallucinated response from GPT-4, which generates a statutory provision that does not exist.</a:t>
            </a:r>
            <a:endParaRPr lang="en-AU" sz="1400" b="0" i="0" dirty="0">
              <a:solidFill>
                <a:schemeClr val="bg1"/>
              </a:solidFill>
              <a:effectLst/>
              <a:latin typeface="tahoma" panose="020B0604030504040204" pitchFamily="34" charset="0"/>
            </a:endParaRPr>
          </a:p>
        </p:txBody>
      </p:sp>
      <p:sp>
        <p:nvSpPr>
          <p:cNvPr id="17" name="Speech Bubble: Rectangle with Corners Rounded 16">
            <a:extLst>
              <a:ext uri="{FF2B5EF4-FFF2-40B4-BE49-F238E27FC236}">
                <a16:creationId xmlns:a16="http://schemas.microsoft.com/office/drawing/2014/main" id="{AEDB3048-66A0-A7E9-51EB-D40E04459456}"/>
              </a:ext>
            </a:extLst>
          </p:cNvPr>
          <p:cNvSpPr/>
          <p:nvPr/>
        </p:nvSpPr>
        <p:spPr>
          <a:xfrm>
            <a:off x="6096000" y="130630"/>
            <a:ext cx="5871587" cy="964640"/>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a:t>Casey and its undue burden standard were overruled by the Supreme Court in Dobbs v. Jackson Women’s Health Organization, 597 U.S. 215 (2022); the correct answer is rational basis review. </a:t>
            </a:r>
            <a:endParaRPr lang="en-AU" sz="1400" b="0" i="0" dirty="0">
              <a:solidFill>
                <a:schemeClr val="bg1"/>
              </a:solidFill>
              <a:effectLst/>
              <a:latin typeface="tahoma" panose="020B0604030504040204" pitchFamily="34" charset="0"/>
            </a:endParaRPr>
          </a:p>
        </p:txBody>
      </p:sp>
      <p:sp>
        <p:nvSpPr>
          <p:cNvPr id="2" name="TextBox 1">
            <a:extLst>
              <a:ext uri="{FF2B5EF4-FFF2-40B4-BE49-F238E27FC236}">
                <a16:creationId xmlns:a16="http://schemas.microsoft.com/office/drawing/2014/main" id="{DEFC42C2-620C-9009-59FD-DAD93FBD225F}"/>
              </a:ext>
            </a:extLst>
          </p:cNvPr>
          <p:cNvSpPr txBox="1"/>
          <p:nvPr/>
        </p:nvSpPr>
        <p:spPr>
          <a:xfrm>
            <a:off x="304800" y="6456156"/>
            <a:ext cx="11887200" cy="369332"/>
          </a:xfrm>
          <a:prstGeom prst="rect">
            <a:avLst/>
          </a:prstGeom>
          <a:noFill/>
        </p:spPr>
        <p:txBody>
          <a:bodyPr wrap="square" rtlCol="0">
            <a:spAutoFit/>
          </a:bodyPr>
          <a:lstStyle/>
          <a:p>
            <a:r>
              <a:rPr lang="en-AU" dirty="0">
                <a:solidFill>
                  <a:schemeClr val="bg1"/>
                </a:solidFill>
              </a:rPr>
              <a:t>Magesh et al., “</a:t>
            </a:r>
            <a:r>
              <a:rPr lang="en-US" dirty="0">
                <a:solidFill>
                  <a:schemeClr val="bg1"/>
                </a:solidFill>
              </a:rPr>
              <a:t>Hallucination-Free? Assessing the Reliability of Leading AI Legal Research Tools”, forthcoming</a:t>
            </a:r>
            <a:r>
              <a:rPr lang="en-AU" dirty="0">
                <a:solidFill>
                  <a:schemeClr val="bg1"/>
                </a:solidFill>
              </a:rPr>
              <a:t> </a:t>
            </a:r>
          </a:p>
        </p:txBody>
      </p:sp>
    </p:spTree>
    <p:extLst>
      <p:ext uri="{BB962C8B-B14F-4D97-AF65-F5344CB8AC3E}">
        <p14:creationId xmlns:p14="http://schemas.microsoft.com/office/powerpoint/2010/main" val="675352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6">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ED7D31"/>
      </a:hlink>
      <a:folHlink>
        <a:srgbClr val="ED7D3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l">
          <a:defRPr b="0" i="0" dirty="0">
            <a:solidFill>
              <a:schemeClr val="bg1"/>
            </a:solidFill>
            <a:effectLst/>
            <a:latin typeface="tahoma" panose="020B060403050404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Custom 11">
      <a:dk1>
        <a:sysClr val="windowText" lastClr="000000"/>
      </a:dk1>
      <a:lt1>
        <a:sysClr val="window" lastClr="FFFFFF"/>
      </a:lt1>
      <a:dk2>
        <a:srgbClr val="373545"/>
      </a:dk2>
      <a:lt2>
        <a:srgbClr val="CEDBE6"/>
      </a:lt2>
      <a:accent1>
        <a:srgbClr val="237771"/>
      </a:accent1>
      <a:accent2>
        <a:srgbClr val="237771"/>
      </a:accent2>
      <a:accent3>
        <a:srgbClr val="9AD3D9"/>
      </a:accent3>
      <a:accent4>
        <a:srgbClr val="7A8C8E"/>
      </a:accent4>
      <a:accent5>
        <a:srgbClr val="84ACB6"/>
      </a:accent5>
      <a:accent6>
        <a:srgbClr val="2683C6"/>
      </a:accent6>
      <a:hlink>
        <a:srgbClr val="373545"/>
      </a:hlink>
      <a:folHlink>
        <a:srgbClr val="373545"/>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98</TotalTime>
  <Words>4389</Words>
  <Application>Microsoft Office PowerPoint</Application>
  <PresentationFormat>Widescreen</PresentationFormat>
  <Paragraphs>342</Paragraphs>
  <Slides>46</Slides>
  <Notes>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7" baseType="lpstr">
      <vt:lpstr>Arial</vt:lpstr>
      <vt:lpstr>Calibri</vt:lpstr>
      <vt:lpstr>Calibri Light</vt:lpstr>
      <vt:lpstr>Courier New</vt:lpstr>
      <vt:lpstr>Symbol</vt:lpstr>
      <vt:lpstr>tahoma</vt:lpstr>
      <vt:lpstr>Verdana</vt:lpstr>
      <vt:lpstr>Wingdings</vt:lpstr>
      <vt:lpstr>Office Theme</vt:lpstr>
      <vt:lpstr>Retrospect</vt:lpstr>
      <vt:lpstr>think-cell Slide</vt:lpstr>
      <vt:lpstr>ETHICS AND COPYRIGHT Artificial intelligence </vt:lpstr>
      <vt:lpstr>Artificial intelligence  and legal ethics</vt:lpstr>
      <vt:lpstr>Outline</vt:lpstr>
      <vt:lpstr>Introduction to advanced AI tools</vt:lpstr>
      <vt:lpstr>Possible legal use cases for advanced AI tools</vt:lpstr>
      <vt:lpstr>What’s under the hood? – RAG example</vt:lpstr>
      <vt:lpstr>Challenges with large language models (LLMs)</vt:lpstr>
      <vt:lpstr>Accuracy</vt:lpstr>
      <vt:lpstr>PowerPoint Presentation</vt:lpstr>
      <vt:lpstr>Legal Profession Uniform Law Australian Solicitors' Conduct Rules 2015</vt:lpstr>
      <vt:lpstr>Terms and conditions / privacy policies</vt:lpstr>
      <vt:lpstr>Victorian Supreme Court guidelines on the responsible use of AI in litigation (May 2024)</vt:lpstr>
      <vt:lpstr>Law Society of NSW - Practice management tips:  </vt:lpstr>
      <vt:lpstr>Tentative conclusions</vt:lpstr>
      <vt:lpstr>Case studies (with Keely O’Dowd) </vt:lpstr>
      <vt:lpstr>Case study 1</vt:lpstr>
      <vt:lpstr>Case study 2</vt:lpstr>
      <vt:lpstr>PowerPoint Presentation</vt:lpstr>
      <vt:lpstr>Copyright and Artificial Intelligence Systems</vt:lpstr>
      <vt:lpstr>Copyright basics</vt:lpstr>
      <vt:lpstr>Types of works</vt:lpstr>
      <vt:lpstr>Multiple copyrights </vt:lpstr>
      <vt:lpstr>Copyright ownership</vt:lpstr>
      <vt:lpstr> Identify your works and authors</vt:lpstr>
      <vt:lpstr>Copyright owner’s rights – s31</vt:lpstr>
      <vt:lpstr>Infringement  - s36</vt:lpstr>
      <vt:lpstr>Authorisation – section 36(1A) </vt:lpstr>
      <vt:lpstr>Duration of copyright</vt:lpstr>
      <vt:lpstr>AI systems</vt:lpstr>
      <vt:lpstr>USA litigation examples</vt:lpstr>
      <vt:lpstr>Possible defences</vt:lpstr>
      <vt:lpstr>Practical problems</vt:lpstr>
      <vt:lpstr>Australia’s response so far</vt:lpstr>
      <vt:lpstr>If you need data to feed into your AI system</vt:lpstr>
      <vt:lpstr>Materials produced by GenAI systems</vt:lpstr>
      <vt:lpstr>The USA and China</vt:lpstr>
      <vt:lpstr>The EU and the UK</vt:lpstr>
      <vt:lpstr>GenAI users as possible authors</vt:lpstr>
      <vt:lpstr>Proving creative input</vt:lpstr>
      <vt:lpstr>Looking forward</vt:lpstr>
      <vt:lpstr>Live issues for copyright and AI</vt:lpstr>
      <vt:lpstr>An Australian hypothetical</vt:lpstr>
      <vt:lpstr>Advice sought</vt:lpstr>
      <vt:lpstr>What about outputs?</vt:lpstr>
      <vt:lpstr>Advice about outpu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ypto-assets update</dc:title>
  <dc:creator>Laurence White</dc:creator>
  <cp:lastModifiedBy>Susan Gatford</cp:lastModifiedBy>
  <cp:revision>14</cp:revision>
  <dcterms:created xsi:type="dcterms:W3CDTF">2022-01-20T00:50:25Z</dcterms:created>
  <dcterms:modified xsi:type="dcterms:W3CDTF">2024-07-24T02:03:42Z</dcterms:modified>
</cp:coreProperties>
</file>